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6"/>
  </p:sldMasterIdLst>
  <p:notesMasterIdLst>
    <p:notesMasterId r:id="rId8"/>
  </p:notesMasterIdLst>
  <p:sldIdLst>
    <p:sldId id="409" r:id="rId7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iella" initials="D" lastIdx="9" clrIdx="0">
    <p:extLst>
      <p:ext uri="{19B8F6BF-5375-455C-9EA6-DF929625EA0E}">
        <p15:presenceInfo xmlns:p15="http://schemas.microsoft.com/office/powerpoint/2012/main" userId="S::dfigueroadowning@gavi.org::73b426eb-dfa4-43a6-ad8a-e79e74adfda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6BC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284DDF4-D216-41F6-A55B-118A9F87D742}" v="972" dt="2022-08-15T10:42:09.136"/>
    <p1510:client id="{E658E9B1-0F7E-41C3-A0EF-1B0B11231E29}" v="85" dt="2022-08-16T08:42:08.75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93" d="100"/>
          <a:sy n="93" d="100"/>
        </p:scale>
        <p:origin x="45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customXml" Target="../customXml/item4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ephanie Phipps" userId="S::sphipps@gavi.org::e4a102f2-4ce0-4074-a3a5-5dfcbc0f6262" providerId="AD" clId="Web-{05F95A82-D67A-09C6-3C57-FAEBD2DA7C7E}"/>
    <pc:docChg chg="modSld">
      <pc:chgData name="Stephanie Phipps" userId="S::sphipps@gavi.org::e4a102f2-4ce0-4074-a3a5-5dfcbc0f6262" providerId="AD" clId="Web-{05F95A82-D67A-09C6-3C57-FAEBD2DA7C7E}" dt="2022-06-28T12:29:36.467" v="192" actId="20577"/>
      <pc:docMkLst>
        <pc:docMk/>
      </pc:docMkLst>
      <pc:sldChg chg="modSp">
        <pc:chgData name="Stephanie Phipps" userId="S::sphipps@gavi.org::e4a102f2-4ce0-4074-a3a5-5dfcbc0f6262" providerId="AD" clId="Web-{05F95A82-D67A-09C6-3C57-FAEBD2DA7C7E}" dt="2022-06-28T12:29:36.467" v="192" actId="20577"/>
        <pc:sldMkLst>
          <pc:docMk/>
          <pc:sldMk cId="2196844344" sldId="409"/>
        </pc:sldMkLst>
        <pc:spChg chg="mod">
          <ac:chgData name="Stephanie Phipps" userId="S::sphipps@gavi.org::e4a102f2-4ce0-4074-a3a5-5dfcbc0f6262" providerId="AD" clId="Web-{05F95A82-D67A-09C6-3C57-FAEBD2DA7C7E}" dt="2022-06-28T12:29:36.467" v="192" actId="20577"/>
          <ac:spMkLst>
            <pc:docMk/>
            <pc:sldMk cId="2196844344" sldId="409"/>
            <ac:spMk id="102" creationId="{00000000-0000-0000-0000-000000000000}"/>
          </ac:spMkLst>
        </pc:spChg>
        <pc:spChg chg="mod">
          <ac:chgData name="Stephanie Phipps" userId="S::sphipps@gavi.org::e4a102f2-4ce0-4074-a3a5-5dfcbc0f6262" providerId="AD" clId="Web-{05F95A82-D67A-09C6-3C57-FAEBD2DA7C7E}" dt="2022-06-28T12:28:10.403" v="190" actId="20577"/>
          <ac:spMkLst>
            <pc:docMk/>
            <pc:sldMk cId="2196844344" sldId="409"/>
            <ac:spMk id="103" creationId="{00000000-0000-0000-0000-000000000000}"/>
          </ac:spMkLst>
        </pc:spChg>
      </pc:sldChg>
    </pc:docChg>
  </pc:docChgLst>
  <pc:docChgLst>
    <pc:chgData name="Lindsey Cole" userId="971e6220-ac8b-4eac-a693-d3b54f4586d1" providerId="ADAL" clId="{C284DDF4-D216-41F6-A55B-118A9F87D742}"/>
    <pc:docChg chg="custSel modSld">
      <pc:chgData name="Lindsey Cole" userId="971e6220-ac8b-4eac-a693-d3b54f4586d1" providerId="ADAL" clId="{C284DDF4-D216-41F6-A55B-118A9F87D742}" dt="2022-08-15T10:42:09.136" v="2343" actId="20577"/>
      <pc:docMkLst>
        <pc:docMk/>
      </pc:docMkLst>
      <pc:sldChg chg="addSp delSp modSp mod modAnim modNotesTx">
        <pc:chgData name="Lindsey Cole" userId="971e6220-ac8b-4eac-a693-d3b54f4586d1" providerId="ADAL" clId="{C284DDF4-D216-41F6-A55B-118A9F87D742}" dt="2022-08-15T10:42:09.136" v="2343" actId="20577"/>
        <pc:sldMkLst>
          <pc:docMk/>
          <pc:sldMk cId="2196844344" sldId="409"/>
        </pc:sldMkLst>
        <pc:spChg chg="del">
          <ac:chgData name="Lindsey Cole" userId="971e6220-ac8b-4eac-a693-d3b54f4586d1" providerId="ADAL" clId="{C284DDF4-D216-41F6-A55B-118A9F87D742}" dt="2022-08-10T15:04:39.487" v="0" actId="478"/>
          <ac:spMkLst>
            <pc:docMk/>
            <pc:sldMk cId="2196844344" sldId="409"/>
            <ac:spMk id="2" creationId="{BE0205D5-50F6-EE9E-5135-A4FD889E934E}"/>
          </ac:spMkLst>
        </pc:spChg>
        <pc:spChg chg="mod">
          <ac:chgData name="Lindsey Cole" userId="971e6220-ac8b-4eac-a693-d3b54f4586d1" providerId="ADAL" clId="{C284DDF4-D216-41F6-A55B-118A9F87D742}" dt="2022-08-15T10:19:15.958" v="1484" actId="1036"/>
          <ac:spMkLst>
            <pc:docMk/>
            <pc:sldMk cId="2196844344" sldId="409"/>
            <ac:spMk id="15" creationId="{0B60456B-59B0-49CD-B48C-E239D0AE9C79}"/>
          </ac:spMkLst>
        </pc:spChg>
        <pc:spChg chg="mod">
          <ac:chgData name="Lindsey Cole" userId="971e6220-ac8b-4eac-a693-d3b54f4586d1" providerId="ADAL" clId="{C284DDF4-D216-41F6-A55B-118A9F87D742}" dt="2022-08-15T10:26:01.192" v="1846" actId="14100"/>
          <ac:spMkLst>
            <pc:docMk/>
            <pc:sldMk cId="2196844344" sldId="409"/>
            <ac:spMk id="17" creationId="{56730387-AB38-4BD3-8BEF-3E2AD30166BE}"/>
          </ac:spMkLst>
        </pc:spChg>
        <pc:spChg chg="mod">
          <ac:chgData name="Lindsey Cole" userId="971e6220-ac8b-4eac-a693-d3b54f4586d1" providerId="ADAL" clId="{C284DDF4-D216-41F6-A55B-118A9F87D742}" dt="2022-08-15T09:31:42.417" v="1403" actId="1036"/>
          <ac:spMkLst>
            <pc:docMk/>
            <pc:sldMk cId="2196844344" sldId="409"/>
            <ac:spMk id="20" creationId="{3755F2A3-0232-4810-9B87-E44C00CFA2C3}"/>
          </ac:spMkLst>
        </pc:spChg>
        <pc:spChg chg="mod">
          <ac:chgData name="Lindsey Cole" userId="971e6220-ac8b-4eac-a693-d3b54f4586d1" providerId="ADAL" clId="{C284DDF4-D216-41F6-A55B-118A9F87D742}" dt="2022-08-15T09:15:44.401" v="1008" actId="552"/>
          <ac:spMkLst>
            <pc:docMk/>
            <pc:sldMk cId="2196844344" sldId="409"/>
            <ac:spMk id="21" creationId="{456453DA-7801-403F-A2F8-78475AC760DB}"/>
          </ac:spMkLst>
        </pc:spChg>
        <pc:spChg chg="mod">
          <ac:chgData name="Lindsey Cole" userId="971e6220-ac8b-4eac-a693-d3b54f4586d1" providerId="ADAL" clId="{C284DDF4-D216-41F6-A55B-118A9F87D742}" dt="2022-08-15T09:31:42.417" v="1403" actId="1036"/>
          <ac:spMkLst>
            <pc:docMk/>
            <pc:sldMk cId="2196844344" sldId="409"/>
            <ac:spMk id="22" creationId="{80C1D2F2-4193-4008-943E-64CC6220B7E0}"/>
          </ac:spMkLst>
        </pc:spChg>
        <pc:spChg chg="mod">
          <ac:chgData name="Lindsey Cole" userId="971e6220-ac8b-4eac-a693-d3b54f4586d1" providerId="ADAL" clId="{C284DDF4-D216-41F6-A55B-118A9F87D742}" dt="2022-08-15T09:31:42.417" v="1403" actId="1036"/>
          <ac:spMkLst>
            <pc:docMk/>
            <pc:sldMk cId="2196844344" sldId="409"/>
            <ac:spMk id="28" creationId="{2085FFA0-1F0D-4CD4-9BA2-74276A00880B}"/>
          </ac:spMkLst>
        </pc:spChg>
        <pc:spChg chg="mod">
          <ac:chgData name="Lindsey Cole" userId="971e6220-ac8b-4eac-a693-d3b54f4586d1" providerId="ADAL" clId="{C284DDF4-D216-41F6-A55B-118A9F87D742}" dt="2022-08-15T09:15:44.401" v="1008" actId="552"/>
          <ac:spMkLst>
            <pc:docMk/>
            <pc:sldMk cId="2196844344" sldId="409"/>
            <ac:spMk id="30" creationId="{C11170B0-D436-4CA6-9233-1424F780167C}"/>
          </ac:spMkLst>
        </pc:spChg>
        <pc:spChg chg="add mod">
          <ac:chgData name="Lindsey Cole" userId="971e6220-ac8b-4eac-a693-d3b54f4586d1" providerId="ADAL" clId="{C284DDF4-D216-41F6-A55B-118A9F87D742}" dt="2022-08-15T10:41:45.716" v="2335" actId="20577"/>
          <ac:spMkLst>
            <pc:docMk/>
            <pc:sldMk cId="2196844344" sldId="409"/>
            <ac:spMk id="33" creationId="{09440C4F-9B75-80DC-1974-5AF170C53284}"/>
          </ac:spMkLst>
        </pc:spChg>
        <pc:spChg chg="add mod">
          <ac:chgData name="Lindsey Cole" userId="971e6220-ac8b-4eac-a693-d3b54f4586d1" providerId="ADAL" clId="{C284DDF4-D216-41F6-A55B-118A9F87D742}" dt="2022-08-15T10:27:52.052" v="1886" actId="554"/>
          <ac:spMkLst>
            <pc:docMk/>
            <pc:sldMk cId="2196844344" sldId="409"/>
            <ac:spMk id="57" creationId="{F3C362E0-F352-FC88-726B-F1FB6BDAB2EF}"/>
          </ac:spMkLst>
        </pc:spChg>
        <pc:spChg chg="add mod">
          <ac:chgData name="Lindsey Cole" userId="971e6220-ac8b-4eac-a693-d3b54f4586d1" providerId="ADAL" clId="{C284DDF4-D216-41F6-A55B-118A9F87D742}" dt="2022-08-15T10:27:52.052" v="1886" actId="554"/>
          <ac:spMkLst>
            <pc:docMk/>
            <pc:sldMk cId="2196844344" sldId="409"/>
            <ac:spMk id="58" creationId="{6304AFDE-38EE-DF6D-24EF-550C1AEC217B}"/>
          </ac:spMkLst>
        </pc:spChg>
        <pc:spChg chg="add mod">
          <ac:chgData name="Lindsey Cole" userId="971e6220-ac8b-4eac-a693-d3b54f4586d1" providerId="ADAL" clId="{C284DDF4-D216-41F6-A55B-118A9F87D742}" dt="2022-08-15T10:21:55.853" v="1517" actId="255"/>
          <ac:spMkLst>
            <pc:docMk/>
            <pc:sldMk cId="2196844344" sldId="409"/>
            <ac:spMk id="59" creationId="{F40DB9D2-DF0D-563E-8E06-7E8749090998}"/>
          </ac:spMkLst>
        </pc:spChg>
        <pc:spChg chg="add mod">
          <ac:chgData name="Lindsey Cole" userId="971e6220-ac8b-4eac-a693-d3b54f4586d1" providerId="ADAL" clId="{C284DDF4-D216-41F6-A55B-118A9F87D742}" dt="2022-08-15T10:42:09.136" v="2343" actId="20577"/>
          <ac:spMkLst>
            <pc:docMk/>
            <pc:sldMk cId="2196844344" sldId="409"/>
            <ac:spMk id="60" creationId="{420F9F04-5E51-AA10-0918-FC9B7012186C}"/>
          </ac:spMkLst>
        </pc:spChg>
        <pc:spChg chg="mod">
          <ac:chgData name="Lindsey Cole" userId="971e6220-ac8b-4eac-a693-d3b54f4586d1" providerId="ADAL" clId="{C284DDF4-D216-41F6-A55B-118A9F87D742}" dt="2022-08-15T09:30:30.330" v="1327" actId="1036"/>
          <ac:spMkLst>
            <pc:docMk/>
            <pc:sldMk cId="2196844344" sldId="409"/>
            <ac:spMk id="61" creationId="{BC1F0891-698A-4A68-BCBD-41B6D094154F}"/>
          </ac:spMkLst>
        </pc:spChg>
        <pc:spChg chg="add mod">
          <ac:chgData name="Lindsey Cole" userId="971e6220-ac8b-4eac-a693-d3b54f4586d1" providerId="ADAL" clId="{C284DDF4-D216-41F6-A55B-118A9F87D742}" dt="2022-08-15T10:26:05.066" v="1856" actId="1038"/>
          <ac:spMkLst>
            <pc:docMk/>
            <pc:sldMk cId="2196844344" sldId="409"/>
            <ac:spMk id="64" creationId="{4DC598AD-3402-FFF4-DD01-FC28B1B2993A}"/>
          </ac:spMkLst>
        </pc:spChg>
        <pc:spChg chg="add mod">
          <ac:chgData name="Lindsey Cole" userId="971e6220-ac8b-4eac-a693-d3b54f4586d1" providerId="ADAL" clId="{C284DDF4-D216-41F6-A55B-118A9F87D742}" dt="2022-08-15T10:22:21.610" v="1539" actId="1076"/>
          <ac:spMkLst>
            <pc:docMk/>
            <pc:sldMk cId="2196844344" sldId="409"/>
            <ac:spMk id="66" creationId="{46AA6044-ACEC-418F-4A19-0106E4DCC66F}"/>
          </ac:spMkLst>
        </pc:spChg>
        <pc:spChg chg="mod">
          <ac:chgData name="Lindsey Cole" userId="971e6220-ac8b-4eac-a693-d3b54f4586d1" providerId="ADAL" clId="{C284DDF4-D216-41F6-A55B-118A9F87D742}" dt="2022-08-15T09:31:42.417" v="1403" actId="1036"/>
          <ac:spMkLst>
            <pc:docMk/>
            <pc:sldMk cId="2196844344" sldId="409"/>
            <ac:spMk id="68" creationId="{F7BFB6C2-1E15-4649-A114-8FCE33F77849}"/>
          </ac:spMkLst>
        </pc:spChg>
        <pc:spChg chg="mod">
          <ac:chgData name="Lindsey Cole" userId="971e6220-ac8b-4eac-a693-d3b54f4586d1" providerId="ADAL" clId="{C284DDF4-D216-41F6-A55B-118A9F87D742}" dt="2022-08-15T10:19:15.958" v="1484" actId="1036"/>
          <ac:spMkLst>
            <pc:docMk/>
            <pc:sldMk cId="2196844344" sldId="409"/>
            <ac:spMk id="69" creationId="{75130609-1B95-4157-A3CE-05016AEF3DF9}"/>
          </ac:spMkLst>
        </pc:spChg>
        <pc:spChg chg="mod">
          <ac:chgData name="Lindsey Cole" userId="971e6220-ac8b-4eac-a693-d3b54f4586d1" providerId="ADAL" clId="{C284DDF4-D216-41F6-A55B-118A9F87D742}" dt="2022-08-15T09:31:42.417" v="1403" actId="1036"/>
          <ac:spMkLst>
            <pc:docMk/>
            <pc:sldMk cId="2196844344" sldId="409"/>
            <ac:spMk id="70" creationId="{AB920EE1-2B02-4421-9268-0E3D9F63FB94}"/>
          </ac:spMkLst>
        </pc:spChg>
        <pc:spChg chg="mod">
          <ac:chgData name="Lindsey Cole" userId="971e6220-ac8b-4eac-a693-d3b54f4586d1" providerId="ADAL" clId="{C284DDF4-D216-41F6-A55B-118A9F87D742}" dt="2022-08-15T10:25:41.277" v="1839" actId="1037"/>
          <ac:spMkLst>
            <pc:docMk/>
            <pc:sldMk cId="2196844344" sldId="409"/>
            <ac:spMk id="71" creationId="{B36E0435-A200-47CC-87C6-692D849C005D}"/>
          </ac:spMkLst>
        </pc:spChg>
        <pc:spChg chg="mod">
          <ac:chgData name="Lindsey Cole" userId="971e6220-ac8b-4eac-a693-d3b54f4586d1" providerId="ADAL" clId="{C284DDF4-D216-41F6-A55B-118A9F87D742}" dt="2022-08-15T10:25:49.863" v="1845" actId="1037"/>
          <ac:spMkLst>
            <pc:docMk/>
            <pc:sldMk cId="2196844344" sldId="409"/>
            <ac:spMk id="73" creationId="{8CA107F1-2F1A-455E-9C6B-F0CE62168090}"/>
          </ac:spMkLst>
        </pc:spChg>
        <pc:spChg chg="mod">
          <ac:chgData name="Lindsey Cole" userId="971e6220-ac8b-4eac-a693-d3b54f4586d1" providerId="ADAL" clId="{C284DDF4-D216-41F6-A55B-118A9F87D742}" dt="2022-08-15T09:31:42.417" v="1403" actId="1036"/>
          <ac:spMkLst>
            <pc:docMk/>
            <pc:sldMk cId="2196844344" sldId="409"/>
            <ac:spMk id="75" creationId="{343FBD5D-B1DE-4D2F-8985-52E986BBF86F}"/>
          </ac:spMkLst>
        </pc:spChg>
        <pc:spChg chg="mod">
          <ac:chgData name="Lindsey Cole" userId="971e6220-ac8b-4eac-a693-d3b54f4586d1" providerId="ADAL" clId="{C284DDF4-D216-41F6-A55B-118A9F87D742}" dt="2022-08-15T10:26:01.192" v="1846" actId="14100"/>
          <ac:spMkLst>
            <pc:docMk/>
            <pc:sldMk cId="2196844344" sldId="409"/>
            <ac:spMk id="76" creationId="{AB051AEF-A625-8CA2-6C65-62DEC9C643C7}"/>
          </ac:spMkLst>
        </pc:spChg>
        <pc:spChg chg="mod">
          <ac:chgData name="Lindsey Cole" userId="971e6220-ac8b-4eac-a693-d3b54f4586d1" providerId="ADAL" clId="{C284DDF4-D216-41F6-A55B-118A9F87D742}" dt="2022-08-15T10:19:31.379" v="1502" actId="1036"/>
          <ac:spMkLst>
            <pc:docMk/>
            <pc:sldMk cId="2196844344" sldId="409"/>
            <ac:spMk id="77" creationId="{CABC7165-8D86-4A33-BA50-50E795850532}"/>
          </ac:spMkLst>
        </pc:spChg>
        <pc:spChg chg="del mod">
          <ac:chgData name="Lindsey Cole" userId="971e6220-ac8b-4eac-a693-d3b54f4586d1" providerId="ADAL" clId="{C284DDF4-D216-41F6-A55B-118A9F87D742}" dt="2022-08-15T09:33:39.423" v="1452" actId="478"/>
          <ac:spMkLst>
            <pc:docMk/>
            <pc:sldMk cId="2196844344" sldId="409"/>
            <ac:spMk id="78" creationId="{98F7892F-2862-4C5F-894D-C38162D47E2C}"/>
          </ac:spMkLst>
        </pc:spChg>
        <pc:spChg chg="mod">
          <ac:chgData name="Lindsey Cole" userId="971e6220-ac8b-4eac-a693-d3b54f4586d1" providerId="ADAL" clId="{C284DDF4-D216-41F6-A55B-118A9F87D742}" dt="2022-08-15T09:31:42.417" v="1403" actId="1036"/>
          <ac:spMkLst>
            <pc:docMk/>
            <pc:sldMk cId="2196844344" sldId="409"/>
            <ac:spMk id="79" creationId="{A7632463-7DA0-40D2-B293-8DA5312E72E6}"/>
          </ac:spMkLst>
        </pc:spChg>
        <pc:spChg chg="mod">
          <ac:chgData name="Lindsey Cole" userId="971e6220-ac8b-4eac-a693-d3b54f4586d1" providerId="ADAL" clId="{C284DDF4-D216-41F6-A55B-118A9F87D742}" dt="2022-08-15T10:19:15.958" v="1484" actId="1036"/>
          <ac:spMkLst>
            <pc:docMk/>
            <pc:sldMk cId="2196844344" sldId="409"/>
            <ac:spMk id="81" creationId="{AECC97F4-9271-44BB-99A2-97D6D79539EE}"/>
          </ac:spMkLst>
        </pc:spChg>
        <pc:spChg chg="mod">
          <ac:chgData name="Lindsey Cole" userId="971e6220-ac8b-4eac-a693-d3b54f4586d1" providerId="ADAL" clId="{C284DDF4-D216-41F6-A55B-118A9F87D742}" dt="2022-08-15T09:31:42.417" v="1403" actId="1036"/>
          <ac:spMkLst>
            <pc:docMk/>
            <pc:sldMk cId="2196844344" sldId="409"/>
            <ac:spMk id="95" creationId="{E1183762-6C28-403F-B685-A46CDAFFA417}"/>
          </ac:spMkLst>
        </pc:spChg>
        <pc:spChg chg="mod">
          <ac:chgData name="Lindsey Cole" userId="971e6220-ac8b-4eac-a693-d3b54f4586d1" providerId="ADAL" clId="{C284DDF4-D216-41F6-A55B-118A9F87D742}" dt="2022-08-15T10:19:15.958" v="1484" actId="1036"/>
          <ac:spMkLst>
            <pc:docMk/>
            <pc:sldMk cId="2196844344" sldId="409"/>
            <ac:spMk id="100" creationId="{1A19A017-B2DA-48AA-B91F-64D63F92184D}"/>
          </ac:spMkLst>
        </pc:spChg>
        <pc:spChg chg="mod">
          <ac:chgData name="Lindsey Cole" userId="971e6220-ac8b-4eac-a693-d3b54f4586d1" providerId="ADAL" clId="{C284DDF4-D216-41F6-A55B-118A9F87D742}" dt="2022-08-15T09:31:42.417" v="1403" actId="1036"/>
          <ac:spMkLst>
            <pc:docMk/>
            <pc:sldMk cId="2196844344" sldId="409"/>
            <ac:spMk id="101" creationId="{4F6C4853-1F58-43B7-8CF0-588B75275719}"/>
          </ac:spMkLst>
        </pc:spChg>
        <pc:spChg chg="mod">
          <ac:chgData name="Lindsey Cole" userId="971e6220-ac8b-4eac-a693-d3b54f4586d1" providerId="ADAL" clId="{C284DDF4-D216-41F6-A55B-118A9F87D742}" dt="2022-08-15T10:30:59.141" v="2238" actId="20577"/>
          <ac:spMkLst>
            <pc:docMk/>
            <pc:sldMk cId="2196844344" sldId="409"/>
            <ac:spMk id="102" creationId="{00000000-0000-0000-0000-000000000000}"/>
          </ac:spMkLst>
        </pc:spChg>
        <pc:spChg chg="mod">
          <ac:chgData name="Lindsey Cole" userId="971e6220-ac8b-4eac-a693-d3b54f4586d1" providerId="ADAL" clId="{C284DDF4-D216-41F6-A55B-118A9F87D742}" dt="2022-08-15T10:31:32.536" v="2315" actId="20577"/>
          <ac:spMkLst>
            <pc:docMk/>
            <pc:sldMk cId="2196844344" sldId="409"/>
            <ac:spMk id="103" creationId="{00000000-0000-0000-0000-000000000000}"/>
          </ac:spMkLst>
        </pc:spChg>
        <pc:spChg chg="mod">
          <ac:chgData name="Lindsey Cole" userId="971e6220-ac8b-4eac-a693-d3b54f4586d1" providerId="ADAL" clId="{C284DDF4-D216-41F6-A55B-118A9F87D742}" dt="2022-08-15T10:28:37.300" v="1910" actId="14100"/>
          <ac:spMkLst>
            <pc:docMk/>
            <pc:sldMk cId="2196844344" sldId="409"/>
            <ac:spMk id="108" creationId="{34F07754-F080-4DE2-BD41-68D2CA7D0B6B}"/>
          </ac:spMkLst>
        </pc:spChg>
        <pc:spChg chg="mod">
          <ac:chgData name="Lindsey Cole" userId="971e6220-ac8b-4eac-a693-d3b54f4586d1" providerId="ADAL" clId="{C284DDF4-D216-41F6-A55B-118A9F87D742}" dt="2022-08-15T09:31:42.417" v="1403" actId="1036"/>
          <ac:spMkLst>
            <pc:docMk/>
            <pc:sldMk cId="2196844344" sldId="409"/>
            <ac:spMk id="111" creationId="{FB08F01D-D205-41A8-87CF-D8B4125AA9FF}"/>
          </ac:spMkLst>
        </pc:spChg>
        <pc:spChg chg="mod">
          <ac:chgData name="Lindsey Cole" userId="971e6220-ac8b-4eac-a693-d3b54f4586d1" providerId="ADAL" clId="{C284DDF4-D216-41F6-A55B-118A9F87D742}" dt="2022-08-15T10:25:17.752" v="1827" actId="553"/>
          <ac:spMkLst>
            <pc:docMk/>
            <pc:sldMk cId="2196844344" sldId="409"/>
            <ac:spMk id="129" creationId="{1B4B191D-3F74-4AB5-BBA0-DFD2C735C004}"/>
          </ac:spMkLst>
        </pc:spChg>
        <pc:spChg chg="mod">
          <ac:chgData name="Lindsey Cole" userId="971e6220-ac8b-4eac-a693-d3b54f4586d1" providerId="ADAL" clId="{C284DDF4-D216-41F6-A55B-118A9F87D742}" dt="2022-08-15T10:25:32.048" v="1828" actId="14100"/>
          <ac:spMkLst>
            <pc:docMk/>
            <pc:sldMk cId="2196844344" sldId="409"/>
            <ac:spMk id="133" creationId="{0E90EA0A-CBAA-469F-9814-CB724A971336}"/>
          </ac:spMkLst>
        </pc:spChg>
        <pc:spChg chg="mod">
          <ac:chgData name="Lindsey Cole" userId="971e6220-ac8b-4eac-a693-d3b54f4586d1" providerId="ADAL" clId="{C284DDF4-D216-41F6-A55B-118A9F87D742}" dt="2022-08-15T10:25:17.752" v="1827" actId="553"/>
          <ac:spMkLst>
            <pc:docMk/>
            <pc:sldMk cId="2196844344" sldId="409"/>
            <ac:spMk id="178" creationId="{2B706D9C-D112-48A8-9CF7-876FA779B276}"/>
          </ac:spMkLst>
        </pc:spChg>
        <pc:spChg chg="mod">
          <ac:chgData name="Lindsey Cole" userId="971e6220-ac8b-4eac-a693-d3b54f4586d1" providerId="ADAL" clId="{C284DDF4-D216-41F6-A55B-118A9F87D742}" dt="2022-08-15T09:15:44.401" v="1008" actId="552"/>
          <ac:spMkLst>
            <pc:docMk/>
            <pc:sldMk cId="2196844344" sldId="409"/>
            <ac:spMk id="193" creationId="{27B5639E-F9BB-4AB0-9043-5B5E193DBEF3}"/>
          </ac:spMkLst>
        </pc:spChg>
        <pc:picChg chg="mod">
          <ac:chgData name="Lindsey Cole" userId="971e6220-ac8b-4eac-a693-d3b54f4586d1" providerId="ADAL" clId="{C284DDF4-D216-41F6-A55B-118A9F87D742}" dt="2022-08-15T09:32:31.384" v="1426" actId="1036"/>
          <ac:picMkLst>
            <pc:docMk/>
            <pc:sldMk cId="2196844344" sldId="409"/>
            <ac:picMk id="29" creationId="{A8396F8C-6602-40D6-8976-71BBF9B201DC}"/>
          </ac:picMkLst>
        </pc:picChg>
        <pc:picChg chg="mod">
          <ac:chgData name="Lindsey Cole" userId="971e6220-ac8b-4eac-a693-d3b54f4586d1" providerId="ADAL" clId="{C284DDF4-D216-41F6-A55B-118A9F87D742}" dt="2022-08-15T09:31:42.417" v="1403" actId="1036"/>
          <ac:picMkLst>
            <pc:docMk/>
            <pc:sldMk cId="2196844344" sldId="409"/>
            <ac:picMk id="32" creationId="{8F76CDCE-324E-490F-BB1A-31B4682AA29A}"/>
          </ac:picMkLst>
        </pc:picChg>
        <pc:picChg chg="add del mod">
          <ac:chgData name="Lindsey Cole" userId="971e6220-ac8b-4eac-a693-d3b54f4586d1" providerId="ADAL" clId="{C284DDF4-D216-41F6-A55B-118A9F87D742}" dt="2022-08-15T10:21:48.587" v="1516" actId="478"/>
          <ac:picMkLst>
            <pc:docMk/>
            <pc:sldMk cId="2196844344" sldId="409"/>
            <ac:picMk id="65" creationId="{48F9D220-966B-D924-AE38-EB13C55F0636}"/>
          </ac:picMkLst>
        </pc:picChg>
        <pc:cxnChg chg="mod">
          <ac:chgData name="Lindsey Cole" userId="971e6220-ac8b-4eac-a693-d3b54f4586d1" providerId="ADAL" clId="{C284DDF4-D216-41F6-A55B-118A9F87D742}" dt="2022-08-15T09:30:30.330" v="1327" actId="1036"/>
          <ac:cxnSpMkLst>
            <pc:docMk/>
            <pc:sldMk cId="2196844344" sldId="409"/>
            <ac:cxnSpMk id="8" creationId="{5A5F0F81-ED13-4EF7-80DA-E5B250E59E13}"/>
          </ac:cxnSpMkLst>
        </pc:cxnChg>
        <pc:cxnChg chg="mod">
          <ac:chgData name="Lindsey Cole" userId="971e6220-ac8b-4eac-a693-d3b54f4586d1" providerId="ADAL" clId="{C284DDF4-D216-41F6-A55B-118A9F87D742}" dt="2022-08-15T09:30:30.330" v="1327" actId="1036"/>
          <ac:cxnSpMkLst>
            <pc:docMk/>
            <pc:sldMk cId="2196844344" sldId="409"/>
            <ac:cxnSpMk id="11" creationId="{9C5BC434-70B8-4FF6-897C-8DD8AC004031}"/>
          </ac:cxnSpMkLst>
        </pc:cxnChg>
        <pc:cxnChg chg="add mod">
          <ac:chgData name="Lindsey Cole" userId="971e6220-ac8b-4eac-a693-d3b54f4586d1" providerId="ADAL" clId="{C284DDF4-D216-41F6-A55B-118A9F87D742}" dt="2022-08-15T10:27:52.052" v="1886" actId="554"/>
          <ac:cxnSpMkLst>
            <pc:docMk/>
            <pc:sldMk cId="2196844344" sldId="409"/>
            <ac:cxnSpMk id="12" creationId="{35E55DE1-B063-DDDD-73E1-F3190474B0D7}"/>
          </ac:cxnSpMkLst>
        </pc:cxnChg>
        <pc:cxnChg chg="mod">
          <ac:chgData name="Lindsey Cole" userId="971e6220-ac8b-4eac-a693-d3b54f4586d1" providerId="ADAL" clId="{C284DDF4-D216-41F6-A55B-118A9F87D742}" dt="2022-08-15T09:31:42.417" v="1403" actId="1036"/>
          <ac:cxnSpMkLst>
            <pc:docMk/>
            <pc:sldMk cId="2196844344" sldId="409"/>
            <ac:cxnSpMk id="23" creationId="{BCDF0F01-44E9-4F3A-B434-A01850611F7C}"/>
          </ac:cxnSpMkLst>
        </pc:cxnChg>
        <pc:cxnChg chg="mod">
          <ac:chgData name="Lindsey Cole" userId="971e6220-ac8b-4eac-a693-d3b54f4586d1" providerId="ADAL" clId="{C284DDF4-D216-41F6-A55B-118A9F87D742}" dt="2022-08-15T09:31:42.417" v="1403" actId="1036"/>
          <ac:cxnSpMkLst>
            <pc:docMk/>
            <pc:sldMk cId="2196844344" sldId="409"/>
            <ac:cxnSpMk id="25" creationId="{ECC7A3F3-8702-4AD0-A78D-FFE18104BDD8}"/>
          </ac:cxnSpMkLst>
        </pc:cxnChg>
        <pc:cxnChg chg="mod">
          <ac:chgData name="Lindsey Cole" userId="971e6220-ac8b-4eac-a693-d3b54f4586d1" providerId="ADAL" clId="{C284DDF4-D216-41F6-A55B-118A9F87D742}" dt="2022-08-15T10:19:42.350" v="1504" actId="14100"/>
          <ac:cxnSpMkLst>
            <pc:docMk/>
            <pc:sldMk cId="2196844344" sldId="409"/>
            <ac:cxnSpMk id="27" creationId="{74B410A4-1770-4EAB-ABCA-C17333FDD4EB}"/>
          </ac:cxnSpMkLst>
        </pc:cxnChg>
        <pc:cxnChg chg="mod">
          <ac:chgData name="Lindsey Cole" userId="971e6220-ac8b-4eac-a693-d3b54f4586d1" providerId="ADAL" clId="{C284DDF4-D216-41F6-A55B-118A9F87D742}" dt="2022-08-15T10:19:36.010" v="1503" actId="14100"/>
          <ac:cxnSpMkLst>
            <pc:docMk/>
            <pc:sldMk cId="2196844344" sldId="409"/>
            <ac:cxnSpMk id="31" creationId="{E2E91C0A-B995-4BA9-BEF8-5BAA7FD35EDE}"/>
          </ac:cxnSpMkLst>
        </pc:cxnChg>
        <pc:cxnChg chg="add del mod">
          <ac:chgData name="Lindsey Cole" userId="971e6220-ac8b-4eac-a693-d3b54f4586d1" providerId="ADAL" clId="{C284DDF4-D216-41F6-A55B-118A9F87D742}" dt="2022-08-15T10:26:42.811" v="1866" actId="478"/>
          <ac:cxnSpMkLst>
            <pc:docMk/>
            <pc:sldMk cId="2196844344" sldId="409"/>
            <ac:cxnSpMk id="74" creationId="{6577B983-6528-5478-ADBB-701E64159AD6}"/>
          </ac:cxnSpMkLst>
        </pc:cxnChg>
        <pc:cxnChg chg="add del mod">
          <ac:chgData name="Lindsey Cole" userId="971e6220-ac8b-4eac-a693-d3b54f4586d1" providerId="ADAL" clId="{C284DDF4-D216-41F6-A55B-118A9F87D742}" dt="2022-08-15T10:26:39.946" v="1865" actId="478"/>
          <ac:cxnSpMkLst>
            <pc:docMk/>
            <pc:sldMk cId="2196844344" sldId="409"/>
            <ac:cxnSpMk id="82" creationId="{20606530-FD6D-183E-CE57-244DD94D95EB}"/>
          </ac:cxnSpMkLst>
        </pc:cxnChg>
        <pc:cxnChg chg="add mod">
          <ac:chgData name="Lindsey Cole" userId="971e6220-ac8b-4eac-a693-d3b54f4586d1" providerId="ADAL" clId="{C284DDF4-D216-41F6-A55B-118A9F87D742}" dt="2022-08-15T10:27:52.052" v="1886" actId="554"/>
          <ac:cxnSpMkLst>
            <pc:docMk/>
            <pc:sldMk cId="2196844344" sldId="409"/>
            <ac:cxnSpMk id="83" creationId="{D4C956D5-66AD-5BED-4D3C-40A6D3BC27D4}"/>
          </ac:cxnSpMkLst>
        </pc:cxnChg>
        <pc:cxnChg chg="add mod">
          <ac:chgData name="Lindsey Cole" userId="971e6220-ac8b-4eac-a693-d3b54f4586d1" providerId="ADAL" clId="{C284DDF4-D216-41F6-A55B-118A9F87D742}" dt="2022-08-15T10:29:28.835" v="2042" actId="1036"/>
          <ac:cxnSpMkLst>
            <pc:docMk/>
            <pc:sldMk cId="2196844344" sldId="409"/>
            <ac:cxnSpMk id="84" creationId="{D17877C2-0F01-5645-6129-0C316E4FC8B6}"/>
          </ac:cxnSpMkLst>
        </pc:cxnChg>
        <pc:cxnChg chg="del mod">
          <ac:chgData name="Lindsey Cole" userId="971e6220-ac8b-4eac-a693-d3b54f4586d1" providerId="ADAL" clId="{C284DDF4-D216-41F6-A55B-118A9F87D742}" dt="2022-08-15T10:20:01.495" v="1511" actId="478"/>
          <ac:cxnSpMkLst>
            <pc:docMk/>
            <pc:sldMk cId="2196844344" sldId="409"/>
            <ac:cxnSpMk id="116" creationId="{C2A1FEC0-883A-41FA-A34E-3898B3D7828E}"/>
          </ac:cxnSpMkLst>
        </pc:cxnChg>
      </pc:sldChg>
    </pc:docChg>
  </pc:docChgLst>
  <pc:docChgLst>
    <pc:chgData name="Stephanie Phipps" userId="e4a102f2-4ce0-4074-a3a5-5dfcbc0f6262" providerId="ADAL" clId="{E658E9B1-0F7E-41C3-A0EF-1B0B11231E29}"/>
    <pc:docChg chg="undo custSel addSld delSld modSld">
      <pc:chgData name="Stephanie Phipps" userId="e4a102f2-4ce0-4074-a3a5-5dfcbc0f6262" providerId="ADAL" clId="{E658E9B1-0F7E-41C3-A0EF-1B0B11231E29}" dt="2022-08-16T08:42:31.040" v="2394" actId="47"/>
      <pc:docMkLst>
        <pc:docMk/>
      </pc:docMkLst>
      <pc:sldChg chg="addSp delSp modSp mod delAnim modAnim">
        <pc:chgData name="Stephanie Phipps" userId="e4a102f2-4ce0-4074-a3a5-5dfcbc0f6262" providerId="ADAL" clId="{E658E9B1-0F7E-41C3-A0EF-1B0B11231E29}" dt="2022-08-16T08:42:08.755" v="2393" actId="20577"/>
        <pc:sldMkLst>
          <pc:docMk/>
          <pc:sldMk cId="2196844344" sldId="409"/>
        </pc:sldMkLst>
        <pc:spChg chg="mod">
          <ac:chgData name="Stephanie Phipps" userId="e4a102f2-4ce0-4074-a3a5-5dfcbc0f6262" providerId="ADAL" clId="{E658E9B1-0F7E-41C3-A0EF-1B0B11231E29}" dt="2022-06-28T13:28:02.791" v="1749" actId="2711"/>
          <ac:spMkLst>
            <pc:docMk/>
            <pc:sldMk cId="2196844344" sldId="409"/>
            <ac:spMk id="5" creationId="{00000000-0000-0000-0000-000000000000}"/>
          </ac:spMkLst>
        </pc:spChg>
        <pc:spChg chg="add mod ord">
          <ac:chgData name="Stephanie Phipps" userId="e4a102f2-4ce0-4074-a3a5-5dfcbc0f6262" providerId="ADAL" clId="{E658E9B1-0F7E-41C3-A0EF-1B0B11231E29}" dt="2022-08-16T08:36:19.184" v="2358" actId="14100"/>
          <ac:spMkLst>
            <pc:docMk/>
            <pc:sldMk cId="2196844344" sldId="409"/>
            <ac:spMk id="6" creationId="{2C24BCE8-0188-C0D3-5FA2-F9DE3CE9C0DE}"/>
          </ac:spMkLst>
        </pc:spChg>
        <pc:spChg chg="mod">
          <ac:chgData name="Stephanie Phipps" userId="e4a102f2-4ce0-4074-a3a5-5dfcbc0f6262" providerId="ADAL" clId="{E658E9B1-0F7E-41C3-A0EF-1B0B11231E29}" dt="2022-06-28T13:28:02.791" v="1749" actId="2711"/>
          <ac:spMkLst>
            <pc:docMk/>
            <pc:sldMk cId="2196844344" sldId="409"/>
            <ac:spMk id="9" creationId="{583F52F8-D7E7-42FD-9FB5-8F23B04017AF}"/>
          </ac:spMkLst>
        </pc:spChg>
        <pc:spChg chg="del">
          <ac:chgData name="Stephanie Phipps" userId="e4a102f2-4ce0-4074-a3a5-5dfcbc0f6262" providerId="ADAL" clId="{E658E9B1-0F7E-41C3-A0EF-1B0B11231E29}" dt="2022-06-28T13:54:31.899" v="1946" actId="478"/>
          <ac:spMkLst>
            <pc:docMk/>
            <pc:sldMk cId="2196844344" sldId="409"/>
            <ac:spMk id="14" creationId="{7D24424B-2E31-4AF2-B0EF-DE387432E4C8}"/>
          </ac:spMkLst>
        </pc:spChg>
        <pc:spChg chg="mod">
          <ac:chgData name="Stephanie Phipps" userId="e4a102f2-4ce0-4074-a3a5-5dfcbc0f6262" providerId="ADAL" clId="{E658E9B1-0F7E-41C3-A0EF-1B0B11231E29}" dt="2022-06-28T13:54:00.761" v="1945" actId="1035"/>
          <ac:spMkLst>
            <pc:docMk/>
            <pc:sldMk cId="2196844344" sldId="409"/>
            <ac:spMk id="15" creationId="{0B60456B-59B0-49CD-B48C-E239D0AE9C79}"/>
          </ac:spMkLst>
        </pc:spChg>
        <pc:spChg chg="mod">
          <ac:chgData name="Stephanie Phipps" userId="e4a102f2-4ce0-4074-a3a5-5dfcbc0f6262" providerId="ADAL" clId="{E658E9B1-0F7E-41C3-A0EF-1B0B11231E29}" dt="2022-06-28T13:58:32.480" v="2049" actId="20577"/>
          <ac:spMkLst>
            <pc:docMk/>
            <pc:sldMk cId="2196844344" sldId="409"/>
            <ac:spMk id="17" creationId="{56730387-AB38-4BD3-8BEF-3E2AD30166BE}"/>
          </ac:spMkLst>
        </pc:spChg>
        <pc:spChg chg="add mod ord">
          <ac:chgData name="Stephanie Phipps" userId="e4a102f2-4ce0-4074-a3a5-5dfcbc0f6262" providerId="ADAL" clId="{E658E9B1-0F7E-41C3-A0EF-1B0B11231E29}" dt="2022-06-28T13:54:54.615" v="1953" actId="167"/>
          <ac:spMkLst>
            <pc:docMk/>
            <pc:sldMk cId="2196844344" sldId="409"/>
            <ac:spMk id="18" creationId="{2904A857-2408-88A5-3DC8-1A326256F290}"/>
          </ac:spMkLst>
        </pc:spChg>
        <pc:spChg chg="mod">
          <ac:chgData name="Stephanie Phipps" userId="e4a102f2-4ce0-4074-a3a5-5dfcbc0f6262" providerId="ADAL" clId="{E658E9B1-0F7E-41C3-A0EF-1B0B11231E29}" dt="2022-06-28T13:28:02.791" v="1749" actId="2711"/>
          <ac:spMkLst>
            <pc:docMk/>
            <pc:sldMk cId="2196844344" sldId="409"/>
            <ac:spMk id="20" creationId="{3755F2A3-0232-4810-9B87-E44C00CFA2C3}"/>
          </ac:spMkLst>
        </pc:spChg>
        <pc:spChg chg="mod">
          <ac:chgData name="Stephanie Phipps" userId="e4a102f2-4ce0-4074-a3a5-5dfcbc0f6262" providerId="ADAL" clId="{E658E9B1-0F7E-41C3-A0EF-1B0B11231E29}" dt="2022-08-16T08:39:58.538" v="2382" actId="20577"/>
          <ac:spMkLst>
            <pc:docMk/>
            <pc:sldMk cId="2196844344" sldId="409"/>
            <ac:spMk id="21" creationId="{456453DA-7801-403F-A2F8-78475AC760DB}"/>
          </ac:spMkLst>
        </pc:spChg>
        <pc:spChg chg="mod">
          <ac:chgData name="Stephanie Phipps" userId="e4a102f2-4ce0-4074-a3a5-5dfcbc0f6262" providerId="ADAL" clId="{E658E9B1-0F7E-41C3-A0EF-1B0B11231E29}" dt="2022-08-16T08:41:06.077" v="2385" actId="20577"/>
          <ac:spMkLst>
            <pc:docMk/>
            <pc:sldMk cId="2196844344" sldId="409"/>
            <ac:spMk id="22" creationId="{80C1D2F2-4193-4008-943E-64CC6220B7E0}"/>
          </ac:spMkLst>
        </pc:spChg>
        <pc:spChg chg="mod">
          <ac:chgData name="Stephanie Phipps" userId="e4a102f2-4ce0-4074-a3a5-5dfcbc0f6262" providerId="ADAL" clId="{E658E9B1-0F7E-41C3-A0EF-1B0B11231E29}" dt="2022-08-16T08:40:46.487" v="2383" actId="20577"/>
          <ac:spMkLst>
            <pc:docMk/>
            <pc:sldMk cId="2196844344" sldId="409"/>
            <ac:spMk id="28" creationId="{2085FFA0-1F0D-4CD4-9BA2-74276A00880B}"/>
          </ac:spMkLst>
        </pc:spChg>
        <pc:spChg chg="mod">
          <ac:chgData name="Stephanie Phipps" userId="e4a102f2-4ce0-4074-a3a5-5dfcbc0f6262" providerId="ADAL" clId="{E658E9B1-0F7E-41C3-A0EF-1B0B11231E29}" dt="2022-06-28T13:28:02.791" v="1749" actId="2711"/>
          <ac:spMkLst>
            <pc:docMk/>
            <pc:sldMk cId="2196844344" sldId="409"/>
            <ac:spMk id="30" creationId="{C11170B0-D436-4CA6-9233-1424F780167C}"/>
          </ac:spMkLst>
        </pc:spChg>
        <pc:spChg chg="del">
          <ac:chgData name="Stephanie Phipps" userId="e4a102f2-4ce0-4074-a3a5-5dfcbc0f6262" providerId="ADAL" clId="{E658E9B1-0F7E-41C3-A0EF-1B0B11231E29}" dt="2022-08-16T08:34:07.478" v="2305" actId="478"/>
          <ac:spMkLst>
            <pc:docMk/>
            <pc:sldMk cId="2196844344" sldId="409"/>
            <ac:spMk id="33" creationId="{09440C4F-9B75-80DC-1974-5AF170C53284}"/>
          </ac:spMkLst>
        </pc:spChg>
        <pc:spChg chg="mod">
          <ac:chgData name="Stephanie Phipps" userId="e4a102f2-4ce0-4074-a3a5-5dfcbc0f6262" providerId="ADAL" clId="{E658E9B1-0F7E-41C3-A0EF-1B0B11231E29}" dt="2022-08-16T08:36:23.047" v="2360" actId="1076"/>
          <ac:spMkLst>
            <pc:docMk/>
            <pc:sldMk cId="2196844344" sldId="409"/>
            <ac:spMk id="54" creationId="{00000000-0000-0000-0000-000000000000}"/>
          </ac:spMkLst>
        </pc:spChg>
        <pc:spChg chg="mod">
          <ac:chgData name="Stephanie Phipps" userId="e4a102f2-4ce0-4074-a3a5-5dfcbc0f6262" providerId="ADAL" clId="{E658E9B1-0F7E-41C3-A0EF-1B0B11231E29}" dt="2022-06-28T13:28:02.791" v="1749" actId="2711"/>
          <ac:spMkLst>
            <pc:docMk/>
            <pc:sldMk cId="2196844344" sldId="409"/>
            <ac:spMk id="61" creationId="{BC1F0891-698A-4A68-BCBD-41B6D094154F}"/>
          </ac:spMkLst>
        </pc:spChg>
        <pc:spChg chg="mod">
          <ac:chgData name="Stephanie Phipps" userId="e4a102f2-4ce0-4074-a3a5-5dfcbc0f6262" providerId="ADAL" clId="{E658E9B1-0F7E-41C3-A0EF-1B0B11231E29}" dt="2022-06-28T13:56:11.941" v="1969" actId="14100"/>
          <ac:spMkLst>
            <pc:docMk/>
            <pc:sldMk cId="2196844344" sldId="409"/>
            <ac:spMk id="63" creationId="{587BCCB9-AA83-4BB5-9AEC-20C6A05AC437}"/>
          </ac:spMkLst>
        </pc:spChg>
        <pc:spChg chg="mod">
          <ac:chgData name="Stephanie Phipps" userId="e4a102f2-4ce0-4074-a3a5-5dfcbc0f6262" providerId="ADAL" clId="{E658E9B1-0F7E-41C3-A0EF-1B0B11231E29}" dt="2022-06-28T13:56:06.862" v="1967" actId="14100"/>
          <ac:spMkLst>
            <pc:docMk/>
            <pc:sldMk cId="2196844344" sldId="409"/>
            <ac:spMk id="67" creationId="{9918EB64-A908-4F2E-ABB6-B2D26B604A0A}"/>
          </ac:spMkLst>
        </pc:spChg>
        <pc:spChg chg="mod">
          <ac:chgData name="Stephanie Phipps" userId="e4a102f2-4ce0-4074-a3a5-5dfcbc0f6262" providerId="ADAL" clId="{E658E9B1-0F7E-41C3-A0EF-1B0B11231E29}" dt="2022-06-28T13:55:47.662" v="1963" actId="1037"/>
          <ac:spMkLst>
            <pc:docMk/>
            <pc:sldMk cId="2196844344" sldId="409"/>
            <ac:spMk id="68" creationId="{F7BFB6C2-1E15-4649-A114-8FCE33F77849}"/>
          </ac:spMkLst>
        </pc:spChg>
        <pc:spChg chg="mod">
          <ac:chgData name="Stephanie Phipps" userId="e4a102f2-4ce0-4074-a3a5-5dfcbc0f6262" providerId="ADAL" clId="{E658E9B1-0F7E-41C3-A0EF-1B0B11231E29}" dt="2022-06-28T13:56:19.434" v="1970" actId="14100"/>
          <ac:spMkLst>
            <pc:docMk/>
            <pc:sldMk cId="2196844344" sldId="409"/>
            <ac:spMk id="69" creationId="{75130609-1B95-4157-A3CE-05016AEF3DF9}"/>
          </ac:spMkLst>
        </pc:spChg>
        <pc:spChg chg="mod">
          <ac:chgData name="Stephanie Phipps" userId="e4a102f2-4ce0-4074-a3a5-5dfcbc0f6262" providerId="ADAL" clId="{E658E9B1-0F7E-41C3-A0EF-1B0B11231E29}" dt="2022-06-28T13:55:43.127" v="1961" actId="1037"/>
          <ac:spMkLst>
            <pc:docMk/>
            <pc:sldMk cId="2196844344" sldId="409"/>
            <ac:spMk id="70" creationId="{AB920EE1-2B02-4421-9268-0E3D9F63FB94}"/>
          </ac:spMkLst>
        </pc:spChg>
        <pc:spChg chg="mod">
          <ac:chgData name="Stephanie Phipps" userId="e4a102f2-4ce0-4074-a3a5-5dfcbc0f6262" providerId="ADAL" clId="{E658E9B1-0F7E-41C3-A0EF-1B0B11231E29}" dt="2022-06-28T13:28:02.791" v="1749" actId="2711"/>
          <ac:spMkLst>
            <pc:docMk/>
            <pc:sldMk cId="2196844344" sldId="409"/>
            <ac:spMk id="71" creationId="{B36E0435-A200-47CC-87C6-692D849C005D}"/>
          </ac:spMkLst>
        </pc:spChg>
        <pc:spChg chg="mod">
          <ac:chgData name="Stephanie Phipps" userId="e4a102f2-4ce0-4074-a3a5-5dfcbc0f6262" providerId="ADAL" clId="{E658E9B1-0F7E-41C3-A0EF-1B0B11231E29}" dt="2022-06-28T13:28:02.791" v="1749" actId="2711"/>
          <ac:spMkLst>
            <pc:docMk/>
            <pc:sldMk cId="2196844344" sldId="409"/>
            <ac:spMk id="72" creationId="{00000000-0000-0000-0000-000000000000}"/>
          </ac:spMkLst>
        </pc:spChg>
        <pc:spChg chg="mod">
          <ac:chgData name="Stephanie Phipps" userId="e4a102f2-4ce0-4074-a3a5-5dfcbc0f6262" providerId="ADAL" clId="{E658E9B1-0F7E-41C3-A0EF-1B0B11231E29}" dt="2022-06-28T13:55:16.378" v="1954" actId="1076"/>
          <ac:spMkLst>
            <pc:docMk/>
            <pc:sldMk cId="2196844344" sldId="409"/>
            <ac:spMk id="73" creationId="{8CA107F1-2F1A-455E-9C6B-F0CE62168090}"/>
          </ac:spMkLst>
        </pc:spChg>
        <pc:spChg chg="mod">
          <ac:chgData name="Stephanie Phipps" userId="e4a102f2-4ce0-4074-a3a5-5dfcbc0f6262" providerId="ADAL" clId="{E658E9B1-0F7E-41C3-A0EF-1B0B11231E29}" dt="2022-06-28T13:28:02.791" v="1749" actId="2711"/>
          <ac:spMkLst>
            <pc:docMk/>
            <pc:sldMk cId="2196844344" sldId="409"/>
            <ac:spMk id="75" creationId="{343FBD5D-B1DE-4D2F-8985-52E986BBF86F}"/>
          </ac:spMkLst>
        </pc:spChg>
        <pc:spChg chg="add mod">
          <ac:chgData name="Stephanie Phipps" userId="e4a102f2-4ce0-4074-a3a5-5dfcbc0f6262" providerId="ADAL" clId="{E658E9B1-0F7E-41C3-A0EF-1B0B11231E29}" dt="2022-06-28T14:00:42.759" v="2218" actId="14100"/>
          <ac:spMkLst>
            <pc:docMk/>
            <pc:sldMk cId="2196844344" sldId="409"/>
            <ac:spMk id="76" creationId="{AB051AEF-A625-8CA2-6C65-62DEC9C643C7}"/>
          </ac:spMkLst>
        </pc:spChg>
        <pc:spChg chg="mod">
          <ac:chgData name="Stephanie Phipps" userId="e4a102f2-4ce0-4074-a3a5-5dfcbc0f6262" providerId="ADAL" clId="{E658E9B1-0F7E-41C3-A0EF-1B0B11231E29}" dt="2022-06-28T13:28:02.791" v="1749" actId="2711"/>
          <ac:spMkLst>
            <pc:docMk/>
            <pc:sldMk cId="2196844344" sldId="409"/>
            <ac:spMk id="77" creationId="{CABC7165-8D86-4A33-BA50-50E795850532}"/>
          </ac:spMkLst>
        </pc:spChg>
        <pc:spChg chg="mod">
          <ac:chgData name="Stephanie Phipps" userId="e4a102f2-4ce0-4074-a3a5-5dfcbc0f6262" providerId="ADAL" clId="{E658E9B1-0F7E-41C3-A0EF-1B0B11231E29}" dt="2022-06-28T13:28:02.791" v="1749" actId="2711"/>
          <ac:spMkLst>
            <pc:docMk/>
            <pc:sldMk cId="2196844344" sldId="409"/>
            <ac:spMk id="78" creationId="{98F7892F-2862-4C5F-894D-C38162D47E2C}"/>
          </ac:spMkLst>
        </pc:spChg>
        <pc:spChg chg="mod">
          <ac:chgData name="Stephanie Phipps" userId="e4a102f2-4ce0-4074-a3a5-5dfcbc0f6262" providerId="ADAL" clId="{E658E9B1-0F7E-41C3-A0EF-1B0B11231E29}" dt="2022-08-16T08:34:01.414" v="2303" actId="1076"/>
          <ac:spMkLst>
            <pc:docMk/>
            <pc:sldMk cId="2196844344" sldId="409"/>
            <ac:spMk id="78" creationId="{D33EE587-8B7E-A5C7-0594-AA594DE260A3}"/>
          </ac:spMkLst>
        </pc:spChg>
        <pc:spChg chg="mod">
          <ac:chgData name="Stephanie Phipps" userId="e4a102f2-4ce0-4074-a3a5-5dfcbc0f6262" providerId="ADAL" clId="{E658E9B1-0F7E-41C3-A0EF-1B0B11231E29}" dt="2022-06-28T13:28:02.791" v="1749" actId="2711"/>
          <ac:spMkLst>
            <pc:docMk/>
            <pc:sldMk cId="2196844344" sldId="409"/>
            <ac:spMk id="79" creationId="{A7632463-7DA0-40D2-B293-8DA5312E72E6}"/>
          </ac:spMkLst>
        </pc:spChg>
        <pc:spChg chg="mod">
          <ac:chgData name="Stephanie Phipps" userId="e4a102f2-4ce0-4074-a3a5-5dfcbc0f6262" providerId="ADAL" clId="{E658E9B1-0F7E-41C3-A0EF-1B0B11231E29}" dt="2022-06-28T13:28:02.791" v="1749" actId="2711"/>
          <ac:spMkLst>
            <pc:docMk/>
            <pc:sldMk cId="2196844344" sldId="409"/>
            <ac:spMk id="80" creationId="{1E2DD336-1112-4E5A-9DB1-E95D376C343D}"/>
          </ac:spMkLst>
        </pc:spChg>
        <pc:spChg chg="mod">
          <ac:chgData name="Stephanie Phipps" userId="e4a102f2-4ce0-4074-a3a5-5dfcbc0f6262" providerId="ADAL" clId="{E658E9B1-0F7E-41C3-A0EF-1B0B11231E29}" dt="2022-06-28T13:50:54.019" v="1756" actId="207"/>
          <ac:spMkLst>
            <pc:docMk/>
            <pc:sldMk cId="2196844344" sldId="409"/>
            <ac:spMk id="81" creationId="{AECC97F4-9271-44BB-99A2-97D6D79539EE}"/>
          </ac:spMkLst>
        </pc:spChg>
        <pc:spChg chg="mod">
          <ac:chgData name="Stephanie Phipps" userId="e4a102f2-4ce0-4074-a3a5-5dfcbc0f6262" providerId="ADAL" clId="{E658E9B1-0F7E-41C3-A0EF-1B0B11231E29}" dt="2022-08-16T08:37:27.540" v="2367" actId="1035"/>
          <ac:spMkLst>
            <pc:docMk/>
            <pc:sldMk cId="2196844344" sldId="409"/>
            <ac:spMk id="86" creationId="{00000000-0000-0000-0000-000000000000}"/>
          </ac:spMkLst>
        </pc:spChg>
        <pc:spChg chg="mod">
          <ac:chgData name="Stephanie Phipps" userId="e4a102f2-4ce0-4074-a3a5-5dfcbc0f6262" providerId="ADAL" clId="{E658E9B1-0F7E-41C3-A0EF-1B0B11231E29}" dt="2022-06-28T13:28:02.791" v="1749" actId="2711"/>
          <ac:spMkLst>
            <pc:docMk/>
            <pc:sldMk cId="2196844344" sldId="409"/>
            <ac:spMk id="93" creationId="{02790813-7D2D-4AA2-A715-B97A32787C36}"/>
          </ac:spMkLst>
        </pc:spChg>
        <pc:spChg chg="mod">
          <ac:chgData name="Stephanie Phipps" userId="e4a102f2-4ce0-4074-a3a5-5dfcbc0f6262" providerId="ADAL" clId="{E658E9B1-0F7E-41C3-A0EF-1B0B11231E29}" dt="2022-06-28T13:28:02.791" v="1749" actId="2711"/>
          <ac:spMkLst>
            <pc:docMk/>
            <pc:sldMk cId="2196844344" sldId="409"/>
            <ac:spMk id="94" creationId="{87E59D86-100B-498E-824F-3B3C28E57EC9}"/>
          </ac:spMkLst>
        </pc:spChg>
        <pc:spChg chg="mod">
          <ac:chgData name="Stephanie Phipps" userId="e4a102f2-4ce0-4074-a3a5-5dfcbc0f6262" providerId="ADAL" clId="{E658E9B1-0F7E-41C3-A0EF-1B0B11231E29}" dt="2022-06-28T13:28:02.791" v="1749" actId="2711"/>
          <ac:spMkLst>
            <pc:docMk/>
            <pc:sldMk cId="2196844344" sldId="409"/>
            <ac:spMk id="95" creationId="{E1183762-6C28-403F-B685-A46CDAFFA417}"/>
          </ac:spMkLst>
        </pc:spChg>
        <pc:spChg chg="mod">
          <ac:chgData name="Stephanie Phipps" userId="e4a102f2-4ce0-4074-a3a5-5dfcbc0f6262" providerId="ADAL" clId="{E658E9B1-0F7E-41C3-A0EF-1B0B11231E29}" dt="2022-06-28T13:54:00.761" v="1945" actId="1035"/>
          <ac:spMkLst>
            <pc:docMk/>
            <pc:sldMk cId="2196844344" sldId="409"/>
            <ac:spMk id="100" creationId="{1A19A017-B2DA-48AA-B91F-64D63F92184D}"/>
          </ac:spMkLst>
        </pc:spChg>
        <pc:spChg chg="mod">
          <ac:chgData name="Stephanie Phipps" userId="e4a102f2-4ce0-4074-a3a5-5dfcbc0f6262" providerId="ADAL" clId="{E658E9B1-0F7E-41C3-A0EF-1B0B11231E29}" dt="2022-06-28T13:55:38.736" v="1958" actId="14100"/>
          <ac:spMkLst>
            <pc:docMk/>
            <pc:sldMk cId="2196844344" sldId="409"/>
            <ac:spMk id="101" creationId="{4F6C4853-1F58-43B7-8CF0-588B75275719}"/>
          </ac:spMkLst>
        </pc:spChg>
        <pc:spChg chg="mod">
          <ac:chgData name="Stephanie Phipps" userId="e4a102f2-4ce0-4074-a3a5-5dfcbc0f6262" providerId="ADAL" clId="{E658E9B1-0F7E-41C3-A0EF-1B0B11231E29}" dt="2022-08-16T08:37:46.775" v="2369" actId="14100"/>
          <ac:spMkLst>
            <pc:docMk/>
            <pc:sldMk cId="2196844344" sldId="409"/>
            <ac:spMk id="102" creationId="{00000000-0000-0000-0000-000000000000}"/>
          </ac:spMkLst>
        </pc:spChg>
        <pc:spChg chg="mod">
          <ac:chgData name="Stephanie Phipps" userId="e4a102f2-4ce0-4074-a3a5-5dfcbc0f6262" providerId="ADAL" clId="{E658E9B1-0F7E-41C3-A0EF-1B0B11231E29}" dt="2022-08-16T08:38:42.672" v="2378" actId="20577"/>
          <ac:spMkLst>
            <pc:docMk/>
            <pc:sldMk cId="2196844344" sldId="409"/>
            <ac:spMk id="103" creationId="{00000000-0000-0000-0000-000000000000}"/>
          </ac:spMkLst>
        </pc:spChg>
        <pc:spChg chg="mod">
          <ac:chgData name="Stephanie Phipps" userId="e4a102f2-4ce0-4074-a3a5-5dfcbc0f6262" providerId="ADAL" clId="{E658E9B1-0F7E-41C3-A0EF-1B0B11231E29}" dt="2022-06-28T13:28:02.791" v="1749" actId="2711"/>
          <ac:spMkLst>
            <pc:docMk/>
            <pc:sldMk cId="2196844344" sldId="409"/>
            <ac:spMk id="108" creationId="{34F07754-F080-4DE2-BD41-68D2CA7D0B6B}"/>
          </ac:spMkLst>
        </pc:spChg>
        <pc:spChg chg="mod">
          <ac:chgData name="Stephanie Phipps" userId="e4a102f2-4ce0-4074-a3a5-5dfcbc0f6262" providerId="ADAL" clId="{E658E9B1-0F7E-41C3-A0EF-1B0B11231E29}" dt="2022-06-28T13:28:02.791" v="1749" actId="2711"/>
          <ac:spMkLst>
            <pc:docMk/>
            <pc:sldMk cId="2196844344" sldId="409"/>
            <ac:spMk id="111" creationId="{FB08F01D-D205-41A8-87CF-D8B4125AA9FF}"/>
          </ac:spMkLst>
        </pc:spChg>
        <pc:spChg chg="del mod">
          <ac:chgData name="Stephanie Phipps" userId="e4a102f2-4ce0-4074-a3a5-5dfcbc0f6262" providerId="ADAL" clId="{E658E9B1-0F7E-41C3-A0EF-1B0B11231E29}" dt="2022-06-28T13:53:32.505" v="1923" actId="478"/>
          <ac:spMkLst>
            <pc:docMk/>
            <pc:sldMk cId="2196844344" sldId="409"/>
            <ac:spMk id="112" creationId="{E981A14D-4B8F-4259-92AC-DD4DC6336609}"/>
          </ac:spMkLst>
        </pc:spChg>
        <pc:spChg chg="mod">
          <ac:chgData name="Stephanie Phipps" userId="e4a102f2-4ce0-4074-a3a5-5dfcbc0f6262" providerId="ADAL" clId="{E658E9B1-0F7E-41C3-A0EF-1B0B11231E29}" dt="2022-08-16T08:38:08.451" v="2372" actId="1076"/>
          <ac:spMkLst>
            <pc:docMk/>
            <pc:sldMk cId="2196844344" sldId="409"/>
            <ac:spMk id="128" creationId="{D475C894-42A1-478D-B145-65768F223021}"/>
          </ac:spMkLst>
        </pc:spChg>
        <pc:spChg chg="mod">
          <ac:chgData name="Stephanie Phipps" userId="e4a102f2-4ce0-4074-a3a5-5dfcbc0f6262" providerId="ADAL" clId="{E658E9B1-0F7E-41C3-A0EF-1B0B11231E29}" dt="2022-08-16T08:42:08.755" v="2393" actId="20577"/>
          <ac:spMkLst>
            <pc:docMk/>
            <pc:sldMk cId="2196844344" sldId="409"/>
            <ac:spMk id="129" creationId="{1B4B191D-3F74-4AB5-BBA0-DFD2C735C004}"/>
          </ac:spMkLst>
        </pc:spChg>
        <pc:spChg chg="mod">
          <ac:chgData name="Stephanie Phipps" userId="e4a102f2-4ce0-4074-a3a5-5dfcbc0f6262" providerId="ADAL" clId="{E658E9B1-0F7E-41C3-A0EF-1B0B11231E29}" dt="2022-06-28T13:28:02.791" v="1749" actId="2711"/>
          <ac:spMkLst>
            <pc:docMk/>
            <pc:sldMk cId="2196844344" sldId="409"/>
            <ac:spMk id="133" creationId="{0E90EA0A-CBAA-469F-9814-CB724A971336}"/>
          </ac:spMkLst>
        </pc:spChg>
        <pc:spChg chg="mod">
          <ac:chgData name="Stephanie Phipps" userId="e4a102f2-4ce0-4074-a3a5-5dfcbc0f6262" providerId="ADAL" clId="{E658E9B1-0F7E-41C3-A0EF-1B0B11231E29}" dt="2022-08-16T08:41:15.320" v="2387" actId="20577"/>
          <ac:spMkLst>
            <pc:docMk/>
            <pc:sldMk cId="2196844344" sldId="409"/>
            <ac:spMk id="178" creationId="{2B706D9C-D112-48A8-9CF7-876FA779B276}"/>
          </ac:spMkLst>
        </pc:spChg>
        <pc:spChg chg="mod">
          <ac:chgData name="Stephanie Phipps" userId="e4a102f2-4ce0-4074-a3a5-5dfcbc0f6262" providerId="ADAL" clId="{E658E9B1-0F7E-41C3-A0EF-1B0B11231E29}" dt="2022-06-28T13:28:02.791" v="1749" actId="2711"/>
          <ac:spMkLst>
            <pc:docMk/>
            <pc:sldMk cId="2196844344" sldId="409"/>
            <ac:spMk id="193" creationId="{27B5639E-F9BB-4AB0-9043-5B5E193DBEF3}"/>
          </ac:spMkLst>
        </pc:spChg>
        <pc:grpChg chg="add del mod">
          <ac:chgData name="Stephanie Phipps" userId="e4a102f2-4ce0-4074-a3a5-5dfcbc0f6262" providerId="ADAL" clId="{E658E9B1-0F7E-41C3-A0EF-1B0B11231E29}" dt="2022-08-16T08:34:02.868" v="2304" actId="478"/>
          <ac:grpSpMkLst>
            <pc:docMk/>
            <pc:sldMk cId="2196844344" sldId="409"/>
            <ac:grpSpMk id="65" creationId="{010E81E7-96A6-C192-26E0-B7BF7B0C0E2E}"/>
          </ac:grpSpMkLst>
        </pc:grpChg>
        <pc:grpChg chg="mod">
          <ac:chgData name="Stephanie Phipps" userId="e4a102f2-4ce0-4074-a3a5-5dfcbc0f6262" providerId="ADAL" clId="{E658E9B1-0F7E-41C3-A0EF-1B0B11231E29}" dt="2022-08-16T08:34:01.414" v="2303" actId="1076"/>
          <ac:grpSpMkLst>
            <pc:docMk/>
            <pc:sldMk cId="2196844344" sldId="409"/>
            <ac:grpSpMk id="74" creationId="{D2B3AF47-80B0-B322-3512-4F4F9FBDA56A}"/>
          </ac:grpSpMkLst>
        </pc:grpChg>
        <pc:picChg chg="add mod">
          <ac:chgData name="Stephanie Phipps" userId="e4a102f2-4ce0-4074-a3a5-5dfcbc0f6262" providerId="ADAL" clId="{E658E9B1-0F7E-41C3-A0EF-1B0B11231E29}" dt="2022-08-16T08:35:41.638" v="2353" actId="14100"/>
          <ac:picMkLst>
            <pc:docMk/>
            <pc:sldMk cId="2196844344" sldId="409"/>
            <ac:picMk id="3" creationId="{D072CA02-5608-EDB9-F6C7-E5DA10FF66DD}"/>
          </ac:picMkLst>
        </pc:picChg>
        <pc:picChg chg="del">
          <ac:chgData name="Stephanie Phipps" userId="e4a102f2-4ce0-4074-a3a5-5dfcbc0f6262" providerId="ADAL" clId="{E658E9B1-0F7E-41C3-A0EF-1B0B11231E29}" dt="2022-06-28T13:18:16.442" v="1465" actId="478"/>
          <ac:picMkLst>
            <pc:docMk/>
            <pc:sldMk cId="2196844344" sldId="409"/>
            <ac:picMk id="16" creationId="{12D0AC73-5F5E-467B-8CE3-7A696803B838}"/>
          </ac:picMkLst>
        </pc:picChg>
        <pc:picChg chg="mod">
          <ac:chgData name="Stephanie Phipps" userId="e4a102f2-4ce0-4074-a3a5-5dfcbc0f6262" providerId="ADAL" clId="{E658E9B1-0F7E-41C3-A0EF-1B0B11231E29}" dt="2022-06-28T13:28:02.791" v="1749" actId="2711"/>
          <ac:picMkLst>
            <pc:docMk/>
            <pc:sldMk cId="2196844344" sldId="409"/>
            <ac:picMk id="26" creationId="{65528E8C-82B7-41F8-A8BC-3894DC0C6DCE}"/>
          </ac:picMkLst>
        </pc:picChg>
        <pc:picChg chg="mod">
          <ac:chgData name="Stephanie Phipps" userId="e4a102f2-4ce0-4074-a3a5-5dfcbc0f6262" providerId="ADAL" clId="{E658E9B1-0F7E-41C3-A0EF-1B0B11231E29}" dt="2022-06-28T13:28:02.791" v="1749" actId="2711"/>
          <ac:picMkLst>
            <pc:docMk/>
            <pc:sldMk cId="2196844344" sldId="409"/>
            <ac:picMk id="29" creationId="{A8396F8C-6602-40D6-8976-71BBF9B201DC}"/>
          </ac:picMkLst>
        </pc:picChg>
        <pc:picChg chg="add del mod">
          <ac:chgData name="Stephanie Phipps" userId="e4a102f2-4ce0-4074-a3a5-5dfcbc0f6262" providerId="ADAL" clId="{E658E9B1-0F7E-41C3-A0EF-1B0B11231E29}" dt="2022-06-28T13:28:02.791" v="1749" actId="2711"/>
          <ac:picMkLst>
            <pc:docMk/>
            <pc:sldMk cId="2196844344" sldId="409"/>
            <ac:picMk id="32" creationId="{8F76CDCE-324E-490F-BB1A-31B4682AA29A}"/>
          </ac:picMkLst>
        </pc:picChg>
        <pc:picChg chg="del mod">
          <ac:chgData name="Stephanie Phipps" userId="e4a102f2-4ce0-4074-a3a5-5dfcbc0f6262" providerId="ADAL" clId="{E658E9B1-0F7E-41C3-A0EF-1B0B11231E29}" dt="2022-06-28T13:51:21.629" v="1757" actId="478"/>
          <ac:picMkLst>
            <pc:docMk/>
            <pc:sldMk cId="2196844344" sldId="409"/>
            <ac:picMk id="66" creationId="{AF155E85-CC1F-427F-A61A-0FC0E53AA3B7}"/>
          </ac:picMkLst>
        </pc:picChg>
        <pc:picChg chg="del mod">
          <ac:chgData name="Stephanie Phipps" userId="e4a102f2-4ce0-4074-a3a5-5dfcbc0f6262" providerId="ADAL" clId="{E658E9B1-0F7E-41C3-A0EF-1B0B11231E29}" dt="2022-06-28T13:51:23.492" v="1758" actId="478"/>
          <ac:picMkLst>
            <pc:docMk/>
            <pc:sldMk cId="2196844344" sldId="409"/>
            <ac:picMk id="74" creationId="{57CB3B8C-5B25-46CE-8B01-85FC0CEB3A71}"/>
          </ac:picMkLst>
        </pc:picChg>
        <pc:picChg chg="mod">
          <ac:chgData name="Stephanie Phipps" userId="e4a102f2-4ce0-4074-a3a5-5dfcbc0f6262" providerId="ADAL" clId="{E658E9B1-0F7E-41C3-A0EF-1B0B11231E29}" dt="2022-08-16T08:34:01.414" v="2303" actId="1076"/>
          <ac:picMkLst>
            <pc:docMk/>
            <pc:sldMk cId="2196844344" sldId="409"/>
            <ac:picMk id="85" creationId="{0190FFA5-B04B-D01C-C3D2-3D7BB86811D5}"/>
          </ac:picMkLst>
        </pc:picChg>
        <pc:picChg chg="mod">
          <ac:chgData name="Stephanie Phipps" userId="e4a102f2-4ce0-4074-a3a5-5dfcbc0f6262" providerId="ADAL" clId="{E658E9B1-0F7E-41C3-A0EF-1B0B11231E29}" dt="2022-08-16T08:34:01.414" v="2303" actId="1076"/>
          <ac:picMkLst>
            <pc:docMk/>
            <pc:sldMk cId="2196844344" sldId="409"/>
            <ac:picMk id="87" creationId="{59BA7EA3-413E-1B30-ACF2-E3305C0AD583}"/>
          </ac:picMkLst>
        </pc:picChg>
        <pc:picChg chg="mod">
          <ac:chgData name="Stephanie Phipps" userId="e4a102f2-4ce0-4074-a3a5-5dfcbc0f6262" providerId="ADAL" clId="{E658E9B1-0F7E-41C3-A0EF-1B0B11231E29}" dt="2022-06-28T13:28:02.791" v="1749" actId="2711"/>
          <ac:picMkLst>
            <pc:docMk/>
            <pc:sldMk cId="2196844344" sldId="409"/>
            <ac:picMk id="98" creationId="{27DE31C0-BD8C-45DA-A315-72036AB07980}"/>
          </ac:picMkLst>
        </pc:picChg>
        <pc:cxnChg chg="mod">
          <ac:chgData name="Stephanie Phipps" userId="e4a102f2-4ce0-4074-a3a5-5dfcbc0f6262" providerId="ADAL" clId="{E658E9B1-0F7E-41C3-A0EF-1B0B11231E29}" dt="2022-06-28T13:28:02.791" v="1749" actId="2711"/>
          <ac:cxnSpMkLst>
            <pc:docMk/>
            <pc:sldMk cId="2196844344" sldId="409"/>
            <ac:cxnSpMk id="8" creationId="{5A5F0F81-ED13-4EF7-80DA-E5B250E59E13}"/>
          </ac:cxnSpMkLst>
        </pc:cxnChg>
        <pc:cxnChg chg="mod">
          <ac:chgData name="Stephanie Phipps" userId="e4a102f2-4ce0-4074-a3a5-5dfcbc0f6262" providerId="ADAL" clId="{E658E9B1-0F7E-41C3-A0EF-1B0B11231E29}" dt="2022-06-28T13:28:02.791" v="1749" actId="2711"/>
          <ac:cxnSpMkLst>
            <pc:docMk/>
            <pc:sldMk cId="2196844344" sldId="409"/>
            <ac:cxnSpMk id="11" creationId="{9C5BC434-70B8-4FF6-897C-8DD8AC004031}"/>
          </ac:cxnSpMkLst>
        </pc:cxnChg>
        <pc:cxnChg chg="mod">
          <ac:chgData name="Stephanie Phipps" userId="e4a102f2-4ce0-4074-a3a5-5dfcbc0f6262" providerId="ADAL" clId="{E658E9B1-0F7E-41C3-A0EF-1B0B11231E29}" dt="2022-06-28T13:55:38.736" v="1958" actId="14100"/>
          <ac:cxnSpMkLst>
            <pc:docMk/>
            <pc:sldMk cId="2196844344" sldId="409"/>
            <ac:cxnSpMk id="23" creationId="{BCDF0F01-44E9-4F3A-B434-A01850611F7C}"/>
          </ac:cxnSpMkLst>
        </pc:cxnChg>
        <pc:cxnChg chg="mod">
          <ac:chgData name="Stephanie Phipps" userId="e4a102f2-4ce0-4074-a3a5-5dfcbc0f6262" providerId="ADAL" clId="{E658E9B1-0F7E-41C3-A0EF-1B0B11231E29}" dt="2022-08-16T08:33:50.860" v="2301" actId="1076"/>
          <ac:cxnSpMkLst>
            <pc:docMk/>
            <pc:sldMk cId="2196844344" sldId="409"/>
            <ac:cxnSpMk id="25" creationId="{ECC7A3F3-8702-4AD0-A78D-FFE18104BDD8}"/>
          </ac:cxnSpMkLst>
        </pc:cxnChg>
        <pc:cxnChg chg="mod">
          <ac:chgData name="Stephanie Phipps" userId="e4a102f2-4ce0-4074-a3a5-5dfcbc0f6262" providerId="ADAL" clId="{E658E9B1-0F7E-41C3-A0EF-1B0B11231E29}" dt="2022-06-28T13:54:00.761" v="1945" actId="1035"/>
          <ac:cxnSpMkLst>
            <pc:docMk/>
            <pc:sldMk cId="2196844344" sldId="409"/>
            <ac:cxnSpMk id="27" creationId="{74B410A4-1770-4EAB-ABCA-C17333FDD4EB}"/>
          </ac:cxnSpMkLst>
        </pc:cxnChg>
        <pc:cxnChg chg="mod">
          <ac:chgData name="Stephanie Phipps" userId="e4a102f2-4ce0-4074-a3a5-5dfcbc0f6262" providerId="ADAL" clId="{E658E9B1-0F7E-41C3-A0EF-1B0B11231E29}" dt="2022-06-28T13:54:00.761" v="1945" actId="1035"/>
          <ac:cxnSpMkLst>
            <pc:docMk/>
            <pc:sldMk cId="2196844344" sldId="409"/>
            <ac:cxnSpMk id="31" creationId="{E2E91C0A-B995-4BA9-BEF8-5BAA7FD35EDE}"/>
          </ac:cxnSpMkLst>
        </pc:cxnChg>
        <pc:cxnChg chg="mod">
          <ac:chgData name="Stephanie Phipps" userId="e4a102f2-4ce0-4074-a3a5-5dfcbc0f6262" providerId="ADAL" clId="{E658E9B1-0F7E-41C3-A0EF-1B0B11231E29}" dt="2022-08-16T08:34:01.414" v="2303" actId="1076"/>
          <ac:cxnSpMkLst>
            <pc:docMk/>
            <pc:sldMk cId="2196844344" sldId="409"/>
            <ac:cxnSpMk id="82" creationId="{0BB49F97-F0A3-A8D3-AE9D-4C3BB0B428F9}"/>
          </ac:cxnSpMkLst>
        </pc:cxnChg>
        <pc:cxnChg chg="mod">
          <ac:chgData name="Stephanie Phipps" userId="e4a102f2-4ce0-4074-a3a5-5dfcbc0f6262" providerId="ADAL" clId="{E658E9B1-0F7E-41C3-A0EF-1B0B11231E29}" dt="2022-06-28T13:28:02.791" v="1749" actId="2711"/>
          <ac:cxnSpMkLst>
            <pc:docMk/>
            <pc:sldMk cId="2196844344" sldId="409"/>
            <ac:cxnSpMk id="116" creationId="{C2A1FEC0-883A-41FA-A34E-3898B3D7828E}"/>
          </ac:cxnSpMkLst>
        </pc:cxnChg>
        <pc:cxnChg chg="del">
          <ac:chgData name="Stephanie Phipps" userId="e4a102f2-4ce0-4074-a3a5-5dfcbc0f6262" providerId="ADAL" clId="{E658E9B1-0F7E-41C3-A0EF-1B0B11231E29}" dt="2022-06-28T13:12:54.768" v="1455" actId="478"/>
          <ac:cxnSpMkLst>
            <pc:docMk/>
            <pc:sldMk cId="2196844344" sldId="409"/>
            <ac:cxnSpMk id="151" creationId="{A68EA5FE-1D62-4834-9B1C-C3FB404646DA}"/>
          </ac:cxnSpMkLst>
        </pc:cxnChg>
      </pc:sldChg>
      <pc:sldChg chg="addSp delSp modSp new del mod">
        <pc:chgData name="Stephanie Phipps" userId="e4a102f2-4ce0-4074-a3a5-5dfcbc0f6262" providerId="ADAL" clId="{E658E9B1-0F7E-41C3-A0EF-1B0B11231E29}" dt="2022-08-16T08:42:31.040" v="2394" actId="47"/>
        <pc:sldMkLst>
          <pc:docMk/>
          <pc:sldMk cId="4153952263" sldId="410"/>
        </pc:sldMkLst>
        <pc:spChg chg="add mod topLvl">
          <ac:chgData name="Stephanie Phipps" userId="e4a102f2-4ce0-4074-a3a5-5dfcbc0f6262" providerId="ADAL" clId="{E658E9B1-0F7E-41C3-A0EF-1B0B11231E29}" dt="2022-08-16T08:33:35.423" v="2298" actId="164"/>
          <ac:spMkLst>
            <pc:docMk/>
            <pc:sldMk cId="4153952263" sldId="410"/>
            <ac:spMk id="13" creationId="{A3695CEE-26A3-F941-15B7-AB916BB3E260}"/>
          </ac:spMkLst>
        </pc:spChg>
        <pc:spChg chg="mod">
          <ac:chgData name="Stephanie Phipps" userId="e4a102f2-4ce0-4074-a3a5-5dfcbc0f6262" providerId="ADAL" clId="{E658E9B1-0F7E-41C3-A0EF-1B0B11231E29}" dt="2022-08-16T08:32:40.311" v="2290" actId="1076"/>
          <ac:spMkLst>
            <pc:docMk/>
            <pc:sldMk cId="4153952263" sldId="410"/>
            <ac:spMk id="23" creationId="{34530AC3-DB64-11CB-A021-885F31E19C4E}"/>
          </ac:spMkLst>
        </pc:spChg>
        <pc:spChg chg="add mod">
          <ac:chgData name="Stephanie Phipps" userId="e4a102f2-4ce0-4074-a3a5-5dfcbc0f6262" providerId="ADAL" clId="{E658E9B1-0F7E-41C3-A0EF-1B0B11231E29}" dt="2022-08-16T08:35:07.801" v="2350" actId="1076"/>
          <ac:spMkLst>
            <pc:docMk/>
            <pc:sldMk cId="4153952263" sldId="410"/>
            <ac:spMk id="28" creationId="{54579902-24FF-F423-F936-51066E3ABFA4}"/>
          </ac:spMkLst>
        </pc:spChg>
        <pc:grpChg chg="add mod">
          <ac:chgData name="Stephanie Phipps" userId="e4a102f2-4ce0-4074-a3a5-5dfcbc0f6262" providerId="ADAL" clId="{E658E9B1-0F7E-41C3-A0EF-1B0B11231E29}" dt="2022-08-16T08:22:51.990" v="2234" actId="14100"/>
          <ac:grpSpMkLst>
            <pc:docMk/>
            <pc:sldMk cId="4153952263" sldId="410"/>
            <ac:grpSpMk id="7" creationId="{E662C3C7-DF81-C80C-CD49-0CC4E550740A}"/>
          </ac:grpSpMkLst>
        </pc:grpChg>
        <pc:grpChg chg="add del mod">
          <ac:chgData name="Stephanie Phipps" userId="e4a102f2-4ce0-4074-a3a5-5dfcbc0f6262" providerId="ADAL" clId="{E658E9B1-0F7E-41C3-A0EF-1B0B11231E29}" dt="2022-08-16T08:23:05.266" v="2238"/>
          <ac:grpSpMkLst>
            <pc:docMk/>
            <pc:sldMk cId="4153952263" sldId="410"/>
            <ac:grpSpMk id="8" creationId="{0B3896C1-FA86-8F27-A5D3-491B26F47DBC}"/>
          </ac:grpSpMkLst>
        </pc:grpChg>
        <pc:grpChg chg="add mod topLvl">
          <ac:chgData name="Stephanie Phipps" userId="e4a102f2-4ce0-4074-a3a5-5dfcbc0f6262" providerId="ADAL" clId="{E658E9B1-0F7E-41C3-A0EF-1B0B11231E29}" dt="2022-08-16T08:33:35.423" v="2298" actId="164"/>
          <ac:grpSpMkLst>
            <pc:docMk/>
            <pc:sldMk cId="4153952263" sldId="410"/>
            <ac:grpSpMk id="12" creationId="{E599EAAB-F3C1-6764-A5F6-385CF5E593EA}"/>
          </ac:grpSpMkLst>
        </pc:grpChg>
        <pc:grpChg chg="add del mod">
          <ac:chgData name="Stephanie Phipps" userId="e4a102f2-4ce0-4074-a3a5-5dfcbc0f6262" providerId="ADAL" clId="{E658E9B1-0F7E-41C3-A0EF-1B0B11231E29}" dt="2022-08-16T08:32:54.961" v="2294" actId="165"/>
          <ac:grpSpMkLst>
            <pc:docMk/>
            <pc:sldMk cId="4153952263" sldId="410"/>
            <ac:grpSpMk id="14" creationId="{D9D42ABD-A433-ABC9-75B3-3DE4FE75A7E5}"/>
          </ac:grpSpMkLst>
        </pc:grpChg>
        <pc:grpChg chg="add del mod">
          <ac:chgData name="Stephanie Phipps" userId="e4a102f2-4ce0-4074-a3a5-5dfcbc0f6262" providerId="ADAL" clId="{E658E9B1-0F7E-41C3-A0EF-1B0B11231E29}" dt="2022-08-16T08:32:41.181" v="2291"/>
          <ac:grpSpMkLst>
            <pc:docMk/>
            <pc:sldMk cId="4153952263" sldId="410"/>
            <ac:grpSpMk id="21" creationId="{0556162A-2D31-AA4F-9A9B-B39472F61F69}"/>
          </ac:grpSpMkLst>
        </pc:grpChg>
        <pc:grpChg chg="mod">
          <ac:chgData name="Stephanie Phipps" userId="e4a102f2-4ce0-4074-a3a5-5dfcbc0f6262" providerId="ADAL" clId="{E658E9B1-0F7E-41C3-A0EF-1B0B11231E29}" dt="2022-08-16T08:32:40.311" v="2290" actId="1076"/>
          <ac:grpSpMkLst>
            <pc:docMk/>
            <pc:sldMk cId="4153952263" sldId="410"/>
            <ac:grpSpMk id="22" creationId="{10207A2F-DDDC-9F4D-8EB2-3FAEA35463D9}"/>
          </ac:grpSpMkLst>
        </pc:grpChg>
        <pc:grpChg chg="add mod">
          <ac:chgData name="Stephanie Phipps" userId="e4a102f2-4ce0-4074-a3a5-5dfcbc0f6262" providerId="ADAL" clId="{E658E9B1-0F7E-41C3-A0EF-1B0B11231E29}" dt="2022-08-16T08:33:35.423" v="2298" actId="164"/>
          <ac:grpSpMkLst>
            <pc:docMk/>
            <pc:sldMk cId="4153952263" sldId="410"/>
            <ac:grpSpMk id="27" creationId="{03EAB8DF-E1F9-48D9-FEE1-F447B898E651}"/>
          </ac:grpSpMkLst>
        </pc:grpChg>
        <pc:picChg chg="add mod modCrop">
          <ac:chgData name="Stephanie Phipps" userId="e4a102f2-4ce0-4074-a3a5-5dfcbc0f6262" providerId="ADAL" clId="{E658E9B1-0F7E-41C3-A0EF-1B0B11231E29}" dt="2022-08-16T08:22:10.162" v="2232" actId="164"/>
          <ac:picMkLst>
            <pc:docMk/>
            <pc:sldMk cId="4153952263" sldId="410"/>
            <ac:picMk id="4" creationId="{52625750-D191-D4A2-7A50-26B2C9B18BEA}"/>
          </ac:picMkLst>
        </pc:picChg>
        <pc:picChg chg="add mod modCrop">
          <ac:chgData name="Stephanie Phipps" userId="e4a102f2-4ce0-4074-a3a5-5dfcbc0f6262" providerId="ADAL" clId="{E658E9B1-0F7E-41C3-A0EF-1B0B11231E29}" dt="2022-08-16T08:22:10.162" v="2232" actId="164"/>
          <ac:picMkLst>
            <pc:docMk/>
            <pc:sldMk cId="4153952263" sldId="410"/>
            <ac:picMk id="6" creationId="{9B15F0A5-8659-94CC-ED49-421EE38F32A8}"/>
          </ac:picMkLst>
        </pc:picChg>
        <pc:picChg chg="mod">
          <ac:chgData name="Stephanie Phipps" userId="e4a102f2-4ce0-4074-a3a5-5dfcbc0f6262" providerId="ADAL" clId="{E658E9B1-0F7E-41C3-A0EF-1B0B11231E29}" dt="2022-08-16T08:23:02.522" v="2235"/>
          <ac:picMkLst>
            <pc:docMk/>
            <pc:sldMk cId="4153952263" sldId="410"/>
            <ac:picMk id="9" creationId="{91E000D5-4C1A-16D0-766C-D72D6AB4BBD3}"/>
          </ac:picMkLst>
        </pc:picChg>
        <pc:picChg chg="mod">
          <ac:chgData name="Stephanie Phipps" userId="e4a102f2-4ce0-4074-a3a5-5dfcbc0f6262" providerId="ADAL" clId="{E658E9B1-0F7E-41C3-A0EF-1B0B11231E29}" dt="2022-08-16T08:23:02.522" v="2235"/>
          <ac:picMkLst>
            <pc:docMk/>
            <pc:sldMk cId="4153952263" sldId="410"/>
            <ac:picMk id="10" creationId="{A33F30F6-B1AB-55EE-45DA-5503143C7779}"/>
          </ac:picMkLst>
        </pc:picChg>
        <pc:picChg chg="add mod">
          <ac:chgData name="Stephanie Phipps" userId="e4a102f2-4ce0-4074-a3a5-5dfcbc0f6262" providerId="ADAL" clId="{E658E9B1-0F7E-41C3-A0EF-1B0B11231E29}" dt="2022-08-16T08:27:50.258" v="2258" actId="1076"/>
          <ac:picMkLst>
            <pc:docMk/>
            <pc:sldMk cId="4153952263" sldId="410"/>
            <ac:picMk id="11" creationId="{1D17AFA2-E529-E565-4826-5A1B905BB90A}"/>
          </ac:picMkLst>
        </pc:picChg>
        <pc:picChg chg="add mod">
          <ac:chgData name="Stephanie Phipps" userId="e4a102f2-4ce0-4074-a3a5-5dfcbc0f6262" providerId="ADAL" clId="{E658E9B1-0F7E-41C3-A0EF-1B0B11231E29}" dt="2022-08-16T08:29:39.734" v="2267" actId="1076"/>
          <ac:picMkLst>
            <pc:docMk/>
            <pc:sldMk cId="4153952263" sldId="410"/>
            <ac:picMk id="17" creationId="{CDAFB80A-6305-7A70-767C-35B898DCE637}"/>
          </ac:picMkLst>
        </pc:picChg>
        <pc:picChg chg="mod">
          <ac:chgData name="Stephanie Phipps" userId="e4a102f2-4ce0-4074-a3a5-5dfcbc0f6262" providerId="ADAL" clId="{E658E9B1-0F7E-41C3-A0EF-1B0B11231E29}" dt="2022-08-16T08:32:40.311" v="2290" actId="1076"/>
          <ac:picMkLst>
            <pc:docMk/>
            <pc:sldMk cId="4153952263" sldId="410"/>
            <ac:picMk id="24" creationId="{3E7ECF1E-3ACA-5BD2-EE52-8D071FF52139}"/>
          </ac:picMkLst>
        </pc:picChg>
        <pc:picChg chg="mod">
          <ac:chgData name="Stephanie Phipps" userId="e4a102f2-4ce0-4074-a3a5-5dfcbc0f6262" providerId="ADAL" clId="{E658E9B1-0F7E-41C3-A0EF-1B0B11231E29}" dt="2022-08-16T08:32:40.311" v="2290" actId="1076"/>
          <ac:picMkLst>
            <pc:docMk/>
            <pc:sldMk cId="4153952263" sldId="410"/>
            <ac:picMk id="25" creationId="{83002803-D4B5-CF10-CE5E-993173E78F73}"/>
          </ac:picMkLst>
        </pc:picChg>
        <pc:picChg chg="add mod">
          <ac:chgData name="Stephanie Phipps" userId="e4a102f2-4ce0-4074-a3a5-5dfcbc0f6262" providerId="ADAL" clId="{E658E9B1-0F7E-41C3-A0EF-1B0B11231E29}" dt="2022-08-16T08:33:03.729" v="2296" actId="14100"/>
          <ac:picMkLst>
            <pc:docMk/>
            <pc:sldMk cId="4153952263" sldId="410"/>
            <ac:picMk id="1026" creationId="{1974FE15-F533-D060-4EE2-1353B91A80DC}"/>
          </ac:picMkLst>
        </pc:picChg>
        <pc:picChg chg="add mod">
          <ac:chgData name="Stephanie Phipps" userId="e4a102f2-4ce0-4074-a3a5-5dfcbc0f6262" providerId="ADAL" clId="{E658E9B1-0F7E-41C3-A0EF-1B0B11231E29}" dt="2022-08-16T08:33:03.729" v="2296" actId="14100"/>
          <ac:picMkLst>
            <pc:docMk/>
            <pc:sldMk cId="4153952263" sldId="410"/>
            <ac:picMk id="1028" creationId="{33B78008-0CE6-E95C-D188-7B8A0E5C4D0F}"/>
          </ac:picMkLst>
        </pc:picChg>
        <pc:cxnChg chg="add mod">
          <ac:chgData name="Stephanie Phipps" userId="e4a102f2-4ce0-4074-a3a5-5dfcbc0f6262" providerId="ADAL" clId="{E658E9B1-0F7E-41C3-A0EF-1B0B11231E29}" dt="2022-08-16T08:33:35.423" v="2298" actId="164"/>
          <ac:cxnSpMkLst>
            <pc:docMk/>
            <pc:sldMk cId="4153952263" sldId="410"/>
            <ac:cxnSpMk id="16" creationId="{96B664CB-5505-7E3D-8B3D-F01BCF103A58}"/>
          </ac:cxnSpMkLst>
        </pc:cxnChg>
        <pc:cxnChg chg="add del mod">
          <ac:chgData name="Stephanie Phipps" userId="e4a102f2-4ce0-4074-a3a5-5dfcbc0f6262" providerId="ADAL" clId="{E658E9B1-0F7E-41C3-A0EF-1B0B11231E29}" dt="2022-08-16T08:32:41.181" v="2291"/>
          <ac:cxnSpMkLst>
            <pc:docMk/>
            <pc:sldMk cId="4153952263" sldId="410"/>
            <ac:cxnSpMk id="26" creationId="{9857B97E-F5D2-F400-9DCD-4BBDE97472D3}"/>
          </ac:cxnSpMkLst>
        </pc:cxnChg>
      </pc:sldChg>
    </pc:docChg>
  </pc:docChgLst>
  <pc:docChgLst>
    <pc:chgData name="Friederike Teutsch" userId="S::fteutsch@gavi.org::b1c99ed9-49ae-4f77-aaca-917ff73ec7e1" providerId="AD" clId="Web-{A1D32738-F787-16D3-958F-B6F4F4AF139A}"/>
    <pc:docChg chg="modSld">
      <pc:chgData name="Friederike Teutsch" userId="S::fteutsch@gavi.org::b1c99ed9-49ae-4f77-aaca-917ff73ec7e1" providerId="AD" clId="Web-{A1D32738-F787-16D3-958F-B6F4F4AF139A}" dt="2022-06-28T14:03:36.404" v="0"/>
      <pc:docMkLst>
        <pc:docMk/>
      </pc:docMkLst>
      <pc:sldChg chg="addSp">
        <pc:chgData name="Friederike Teutsch" userId="S::fteutsch@gavi.org::b1c99ed9-49ae-4f77-aaca-917ff73ec7e1" providerId="AD" clId="Web-{A1D32738-F787-16D3-958F-B6F4F4AF139A}" dt="2022-06-28T14:03:36.404" v="0"/>
        <pc:sldMkLst>
          <pc:docMk/>
          <pc:sldMk cId="2196844344" sldId="409"/>
        </pc:sldMkLst>
        <pc:spChg chg="add">
          <ac:chgData name="Friederike Teutsch" userId="S::fteutsch@gavi.org::b1c99ed9-49ae-4f77-aaca-917ff73ec7e1" providerId="AD" clId="Web-{A1D32738-F787-16D3-958F-B6F4F4AF139A}" dt="2022-06-28T14:03:36.404" v="0"/>
          <ac:spMkLst>
            <pc:docMk/>
            <pc:sldMk cId="2196844344" sldId="409"/>
            <ac:spMk id="2" creationId="{BE0205D5-50F6-EE9E-5135-A4FD889E934E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B8B5F1-2BAA-4A13-87EC-A96CE6DD137C}" type="datetimeFigureOut">
              <a:rPr lang="en-US" smtClean="0"/>
              <a:t>8/15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87F972-D4A8-4A25-9946-8C565DDAC2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68584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Wingdings" panose="05000000000000000000" pitchFamily="2" charset="2"/>
              <a:buChar char="§"/>
            </a:pPr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2801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42232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Image 20" descr="FD_1_L254.png"/>
          <p:cNvPicPr>
            <a:picLocks/>
          </p:cNvPicPr>
          <p:nvPr userDrawn="1"/>
        </p:nvPicPr>
        <p:blipFill>
          <a:blip r:embed="rId5" cstate="print"/>
          <a:stretch>
            <a:fillRect/>
          </a:stretch>
        </p:blipFill>
        <p:spPr bwMode="ltGray">
          <a:xfrm>
            <a:off x="1" y="-7257"/>
            <a:ext cx="12192000" cy="5157788"/>
          </a:xfrm>
          <a:prstGeom prst="rect">
            <a:avLst/>
          </a:prstGeom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624417" y="2958308"/>
            <a:ext cx="5123240" cy="323165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defRPr sz="2100" b="1" cap="none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24417" y="3529965"/>
            <a:ext cx="5123240" cy="230832"/>
          </a:xfrm>
        </p:spPr>
        <p:txBody>
          <a:bodyPr wrap="square">
            <a:spAutoFit/>
          </a:bodyPr>
          <a:lstStyle>
            <a:lvl1pPr>
              <a:defRPr sz="1500" cap="none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grpSp>
        <p:nvGrpSpPr>
          <p:cNvPr id="27" name="McK Title Elements" hidden="1"/>
          <p:cNvGrpSpPr/>
          <p:nvPr userDrawn="1"/>
        </p:nvGrpSpPr>
        <p:grpSpPr bwMode="auto">
          <a:xfrm>
            <a:off x="624418" y="4309457"/>
            <a:ext cx="5385256" cy="376618"/>
            <a:chOff x="1037261" y="5404470"/>
            <a:chExt cx="4038942" cy="376618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037261" y="5404470"/>
              <a:ext cx="4038942" cy="1615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5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037261" y="5619505"/>
              <a:ext cx="4038942" cy="1615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5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pic>
        <p:nvPicPr>
          <p:cNvPr id="21" name="Image 19" descr="Bas_couv.png"/>
          <p:cNvPicPr>
            <a:picLocks noChangeAspect="1"/>
          </p:cNvPicPr>
          <p:nvPr userDrawn="1"/>
        </p:nvPicPr>
        <p:blipFill>
          <a:blip r:embed="rId6" cstate="print"/>
          <a:srcRect r="60243" b="722"/>
          <a:stretch>
            <a:fillRect/>
          </a:stretch>
        </p:blipFill>
        <p:spPr bwMode="auto">
          <a:xfrm>
            <a:off x="4" y="5172520"/>
            <a:ext cx="4847167" cy="1685480"/>
          </a:xfrm>
          <a:prstGeom prst="rect">
            <a:avLst/>
          </a:prstGeom>
        </p:spPr>
      </p:pic>
      <p:sp>
        <p:nvSpPr>
          <p:cNvPr id="20" name="Rectangle 19"/>
          <p:cNvSpPr/>
          <p:nvPr userDrawn="1"/>
        </p:nvSpPr>
        <p:spPr bwMode="auto">
          <a:xfrm>
            <a:off x="624417" y="3391895"/>
            <a:ext cx="3264000" cy="25200"/>
          </a:xfrm>
          <a:prstGeom prst="rect">
            <a:avLst/>
          </a:prstGeom>
          <a:solidFill>
            <a:srgbClr val="95D6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1350" kern="0">
              <a:solidFill>
                <a:sysClr val="window" lastClr="FFFFFF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 bwMode="auto">
          <a:xfrm>
            <a:off x="11257880" y="6354203"/>
            <a:ext cx="573875" cy="11541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algn="r">
              <a:defRPr/>
            </a:pPr>
            <a:r>
              <a:rPr lang="en-US" sz="750" kern="0">
                <a:solidFill>
                  <a:srgbClr val="95D600"/>
                </a:solidFill>
              </a:rPr>
              <a:t>www.gavi.org</a:t>
            </a:r>
          </a:p>
        </p:txBody>
      </p:sp>
      <p:pic>
        <p:nvPicPr>
          <p:cNvPr id="17541" name="Picture 133"/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616" t="42028" r="1467" b="15943"/>
          <a:stretch/>
        </p:blipFill>
        <p:spPr bwMode="auto">
          <a:xfrm>
            <a:off x="10324686" y="6190074"/>
            <a:ext cx="1519768" cy="1641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Placeholder 1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13" r="18213"/>
          <a:stretch>
            <a:fillRect/>
          </a:stretch>
        </p:blipFill>
        <p:spPr bwMode="ltGray">
          <a:xfrm>
            <a:off x="5590118" y="-11869"/>
            <a:ext cx="6601883" cy="5162400"/>
          </a:xfrm>
          <a:custGeom>
            <a:avLst/>
            <a:gdLst>
              <a:gd name="connsiteX0" fmla="*/ 0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0 w 3851275"/>
              <a:gd name="connsiteY3" fmla="*/ 5157788 h 5157788"/>
              <a:gd name="connsiteX4" fmla="*/ 0 w 3851275"/>
              <a:gd name="connsiteY4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0 w 3851275"/>
              <a:gd name="connsiteY3" fmla="*/ 5157788 h 5157788"/>
              <a:gd name="connsiteX4" fmla="*/ 1692275 w 3851275"/>
              <a:gd name="connsiteY4" fmla="*/ 0 h 5157788"/>
              <a:gd name="connsiteX0" fmla="*/ 0 w 2159000"/>
              <a:gd name="connsiteY0" fmla="*/ 0 h 5157788"/>
              <a:gd name="connsiteX1" fmla="*/ 2159000 w 2159000"/>
              <a:gd name="connsiteY1" fmla="*/ 0 h 5157788"/>
              <a:gd name="connsiteX2" fmla="*/ 2159000 w 2159000"/>
              <a:gd name="connsiteY2" fmla="*/ 5157788 h 5157788"/>
              <a:gd name="connsiteX3" fmla="*/ 0 w 2159000"/>
              <a:gd name="connsiteY3" fmla="*/ 5157788 h 5157788"/>
              <a:gd name="connsiteX4" fmla="*/ 0 w 2159000"/>
              <a:gd name="connsiteY4" fmla="*/ 0 h 5157788"/>
              <a:gd name="connsiteX0" fmla="*/ 2625271 w 4784271"/>
              <a:gd name="connsiteY0" fmla="*/ 0 h 5157788"/>
              <a:gd name="connsiteX1" fmla="*/ 4784271 w 4784271"/>
              <a:gd name="connsiteY1" fmla="*/ 0 h 5157788"/>
              <a:gd name="connsiteX2" fmla="*/ 4784271 w 4784271"/>
              <a:gd name="connsiteY2" fmla="*/ 5157788 h 5157788"/>
              <a:gd name="connsiteX3" fmla="*/ 2625271 w 4784271"/>
              <a:gd name="connsiteY3" fmla="*/ 5157788 h 5157788"/>
              <a:gd name="connsiteX4" fmla="*/ 2625271 w 4784271"/>
              <a:gd name="connsiteY4" fmla="*/ 0 h 5157788"/>
              <a:gd name="connsiteX0" fmla="*/ 2625271 w 4784271"/>
              <a:gd name="connsiteY0" fmla="*/ 0 h 5157788"/>
              <a:gd name="connsiteX1" fmla="*/ 4784271 w 4784271"/>
              <a:gd name="connsiteY1" fmla="*/ 0 h 5157788"/>
              <a:gd name="connsiteX2" fmla="*/ 4784271 w 4784271"/>
              <a:gd name="connsiteY2" fmla="*/ 5157788 h 5157788"/>
              <a:gd name="connsiteX3" fmla="*/ 2625271 w 4784271"/>
              <a:gd name="connsiteY3" fmla="*/ 5157788 h 5157788"/>
              <a:gd name="connsiteX4" fmla="*/ 2625271 w 4784271"/>
              <a:gd name="connsiteY4" fmla="*/ 0 h 5157788"/>
              <a:gd name="connsiteX0" fmla="*/ 3568576 w 5727576"/>
              <a:gd name="connsiteY0" fmla="*/ 0 h 5157788"/>
              <a:gd name="connsiteX1" fmla="*/ 5727576 w 5727576"/>
              <a:gd name="connsiteY1" fmla="*/ 0 h 5157788"/>
              <a:gd name="connsiteX2" fmla="*/ 5727576 w 5727576"/>
              <a:gd name="connsiteY2" fmla="*/ 5157788 h 5157788"/>
              <a:gd name="connsiteX3" fmla="*/ 3568576 w 5727576"/>
              <a:gd name="connsiteY3" fmla="*/ 5157788 h 5157788"/>
              <a:gd name="connsiteX4" fmla="*/ 3568576 w 5727576"/>
              <a:gd name="connsiteY4" fmla="*/ 0 h 5157788"/>
              <a:gd name="connsiteX0" fmla="*/ 3306355 w 5465355"/>
              <a:gd name="connsiteY0" fmla="*/ 0 h 5157788"/>
              <a:gd name="connsiteX1" fmla="*/ 5465355 w 5465355"/>
              <a:gd name="connsiteY1" fmla="*/ 0 h 5157788"/>
              <a:gd name="connsiteX2" fmla="*/ 5465355 w 5465355"/>
              <a:gd name="connsiteY2" fmla="*/ 5157788 h 5157788"/>
              <a:gd name="connsiteX3" fmla="*/ 3306355 w 5465355"/>
              <a:gd name="connsiteY3" fmla="*/ 5157788 h 5157788"/>
              <a:gd name="connsiteX4" fmla="*/ 3306355 w 5465355"/>
              <a:gd name="connsiteY4" fmla="*/ 0 h 5157788"/>
              <a:gd name="connsiteX0" fmla="*/ 1416957 w 3575957"/>
              <a:gd name="connsiteY0" fmla="*/ 0 h 5157788"/>
              <a:gd name="connsiteX1" fmla="*/ 3575957 w 3575957"/>
              <a:gd name="connsiteY1" fmla="*/ 0 h 5157788"/>
              <a:gd name="connsiteX2" fmla="*/ 3575957 w 3575957"/>
              <a:gd name="connsiteY2" fmla="*/ 5157788 h 5157788"/>
              <a:gd name="connsiteX3" fmla="*/ 1416957 w 3575957"/>
              <a:gd name="connsiteY3" fmla="*/ 5157788 h 5157788"/>
              <a:gd name="connsiteX4" fmla="*/ 0 w 3575957"/>
              <a:gd name="connsiteY4" fmla="*/ 3339193 h 5157788"/>
              <a:gd name="connsiteX5" fmla="*/ 1416957 w 3575957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6017419"/>
              <a:gd name="connsiteX1" fmla="*/ 3851275 w 3851275"/>
              <a:gd name="connsiteY1" fmla="*/ 0 h 6017419"/>
              <a:gd name="connsiteX2" fmla="*/ 3851275 w 3851275"/>
              <a:gd name="connsiteY2" fmla="*/ 5157788 h 6017419"/>
              <a:gd name="connsiteX3" fmla="*/ 1692275 w 3851275"/>
              <a:gd name="connsiteY3" fmla="*/ 5157788 h 6017419"/>
              <a:gd name="connsiteX4" fmla="*/ 0 w 3851275"/>
              <a:gd name="connsiteY4" fmla="*/ 3284984 h 6017419"/>
              <a:gd name="connsiteX5" fmla="*/ 1692275 w 3851275"/>
              <a:gd name="connsiteY5" fmla="*/ 0 h 6017419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429000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429000 h 5157788"/>
              <a:gd name="connsiteX5" fmla="*/ 1710871 w 3869871"/>
              <a:gd name="connsiteY5" fmla="*/ 0 h 5157788"/>
              <a:gd name="connsiteX0" fmla="*/ 1704975 w 3863975"/>
              <a:gd name="connsiteY0" fmla="*/ 0 h 5157788"/>
              <a:gd name="connsiteX1" fmla="*/ 3863975 w 3863975"/>
              <a:gd name="connsiteY1" fmla="*/ 0 h 5157788"/>
              <a:gd name="connsiteX2" fmla="*/ 3863975 w 3863975"/>
              <a:gd name="connsiteY2" fmla="*/ 5157788 h 5157788"/>
              <a:gd name="connsiteX3" fmla="*/ 1704975 w 3863975"/>
              <a:gd name="connsiteY3" fmla="*/ 5157788 h 5157788"/>
              <a:gd name="connsiteX4" fmla="*/ 12700 w 3863975"/>
              <a:gd name="connsiteY4" fmla="*/ 3429000 h 5157788"/>
              <a:gd name="connsiteX5" fmla="*/ 1704975 w 3863975"/>
              <a:gd name="connsiteY5" fmla="*/ 0 h 5157788"/>
              <a:gd name="connsiteX0" fmla="*/ 1707243 w 3866243"/>
              <a:gd name="connsiteY0" fmla="*/ 0 h 5157788"/>
              <a:gd name="connsiteX1" fmla="*/ 3866243 w 3866243"/>
              <a:gd name="connsiteY1" fmla="*/ 0 h 5157788"/>
              <a:gd name="connsiteX2" fmla="*/ 3866243 w 3866243"/>
              <a:gd name="connsiteY2" fmla="*/ 5157788 h 5157788"/>
              <a:gd name="connsiteX3" fmla="*/ 1707243 w 3866243"/>
              <a:gd name="connsiteY3" fmla="*/ 5157788 h 5157788"/>
              <a:gd name="connsiteX4" fmla="*/ 14968 w 3866243"/>
              <a:gd name="connsiteY4" fmla="*/ 3429000 h 5157788"/>
              <a:gd name="connsiteX5" fmla="*/ 1707243 w 3866243"/>
              <a:gd name="connsiteY5" fmla="*/ 0 h 5157788"/>
              <a:gd name="connsiteX0" fmla="*/ 1130447 w 3866243"/>
              <a:gd name="connsiteY0" fmla="*/ 0 h 5157788"/>
              <a:gd name="connsiteX1" fmla="*/ 3866243 w 3866243"/>
              <a:gd name="connsiteY1" fmla="*/ 0 h 5157788"/>
              <a:gd name="connsiteX2" fmla="*/ 3866243 w 3866243"/>
              <a:gd name="connsiteY2" fmla="*/ 5157788 h 5157788"/>
              <a:gd name="connsiteX3" fmla="*/ 1707243 w 3866243"/>
              <a:gd name="connsiteY3" fmla="*/ 5157788 h 5157788"/>
              <a:gd name="connsiteX4" fmla="*/ 14968 w 3866243"/>
              <a:gd name="connsiteY4" fmla="*/ 3429000 h 5157788"/>
              <a:gd name="connsiteX5" fmla="*/ 1130447 w 3866243"/>
              <a:gd name="connsiteY5" fmla="*/ 0 h 5157788"/>
              <a:gd name="connsiteX0" fmla="*/ 2746143 w 5481939"/>
              <a:gd name="connsiteY0" fmla="*/ 0 h 5157788"/>
              <a:gd name="connsiteX1" fmla="*/ 5481939 w 5481939"/>
              <a:gd name="connsiteY1" fmla="*/ 0 h 5157788"/>
              <a:gd name="connsiteX2" fmla="*/ 5481939 w 5481939"/>
              <a:gd name="connsiteY2" fmla="*/ 5157788 h 5157788"/>
              <a:gd name="connsiteX3" fmla="*/ 585903 w 5481939"/>
              <a:gd name="connsiteY3" fmla="*/ 5153180 h 5157788"/>
              <a:gd name="connsiteX4" fmla="*/ 1630664 w 5481939"/>
              <a:gd name="connsiteY4" fmla="*/ 3429000 h 5157788"/>
              <a:gd name="connsiteX5" fmla="*/ 2746143 w 5481939"/>
              <a:gd name="connsiteY5" fmla="*/ 0 h 5157788"/>
              <a:gd name="connsiteX0" fmla="*/ 2746143 w 5481939"/>
              <a:gd name="connsiteY0" fmla="*/ 0 h 5157788"/>
              <a:gd name="connsiteX1" fmla="*/ 5481939 w 5481939"/>
              <a:gd name="connsiteY1" fmla="*/ 0 h 5157788"/>
              <a:gd name="connsiteX2" fmla="*/ 5481939 w 5481939"/>
              <a:gd name="connsiteY2" fmla="*/ 5157788 h 5157788"/>
              <a:gd name="connsiteX3" fmla="*/ 585903 w 5481939"/>
              <a:gd name="connsiteY3" fmla="*/ 5153180 h 5157788"/>
              <a:gd name="connsiteX4" fmla="*/ 1630664 w 5481939"/>
              <a:gd name="connsiteY4" fmla="*/ 3429000 h 5157788"/>
              <a:gd name="connsiteX5" fmla="*/ 2746143 w 548193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3574235 w 6310031"/>
              <a:gd name="connsiteY0" fmla="*/ 0 h 5157788"/>
              <a:gd name="connsiteX1" fmla="*/ 6310031 w 6310031"/>
              <a:gd name="connsiteY1" fmla="*/ 0 h 5157788"/>
              <a:gd name="connsiteX2" fmla="*/ 6310031 w 6310031"/>
              <a:gd name="connsiteY2" fmla="*/ 5157788 h 5157788"/>
              <a:gd name="connsiteX3" fmla="*/ 585903 w 6310031"/>
              <a:gd name="connsiteY3" fmla="*/ 5153180 h 5157788"/>
              <a:gd name="connsiteX4" fmla="*/ 1738031 w 6310031"/>
              <a:gd name="connsiteY4" fmla="*/ 3389965 h 5157788"/>
              <a:gd name="connsiteX5" fmla="*/ 3574235 w 6310031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296143 w 5724128"/>
              <a:gd name="connsiteY4" fmla="*/ 3461908 h 5157788"/>
              <a:gd name="connsiteX5" fmla="*/ 2988332 w 5724128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296144 w 5724129"/>
              <a:gd name="connsiteY4" fmla="*/ 3461908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296144 w 5724129"/>
              <a:gd name="connsiteY4" fmla="*/ 3461908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296144 w 5724129"/>
              <a:gd name="connsiteY4" fmla="*/ 3461908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3024336 w 5760132"/>
              <a:gd name="connsiteY0" fmla="*/ 0 h 5157788"/>
              <a:gd name="connsiteX1" fmla="*/ 5760132 w 5760132"/>
              <a:gd name="connsiteY1" fmla="*/ 0 h 5157788"/>
              <a:gd name="connsiteX2" fmla="*/ 5760132 w 5760132"/>
              <a:gd name="connsiteY2" fmla="*/ 5157788 h 5157788"/>
              <a:gd name="connsiteX3" fmla="*/ 0 w 5760132"/>
              <a:gd name="connsiteY3" fmla="*/ 5153180 h 5157788"/>
              <a:gd name="connsiteX4" fmla="*/ 1188132 w 5760132"/>
              <a:gd name="connsiteY4" fmla="*/ 3425937 h 5157788"/>
              <a:gd name="connsiteX5" fmla="*/ 3024336 w 5760132"/>
              <a:gd name="connsiteY5" fmla="*/ 0 h 5157788"/>
              <a:gd name="connsiteX0" fmla="*/ 3024336 w 5760132"/>
              <a:gd name="connsiteY0" fmla="*/ 0 h 5157788"/>
              <a:gd name="connsiteX1" fmla="*/ 5760132 w 5760132"/>
              <a:gd name="connsiteY1" fmla="*/ 0 h 5157788"/>
              <a:gd name="connsiteX2" fmla="*/ 5760132 w 5760132"/>
              <a:gd name="connsiteY2" fmla="*/ 5157788 h 5157788"/>
              <a:gd name="connsiteX3" fmla="*/ 0 w 5760132"/>
              <a:gd name="connsiteY3" fmla="*/ 5153180 h 5157788"/>
              <a:gd name="connsiteX4" fmla="*/ 2736304 w 5760132"/>
              <a:gd name="connsiteY4" fmla="*/ 3461908 h 5157788"/>
              <a:gd name="connsiteX5" fmla="*/ 3024336 w 5760132"/>
              <a:gd name="connsiteY5" fmla="*/ 0 h 5157788"/>
              <a:gd name="connsiteX0" fmla="*/ 3024336 w 5760132"/>
              <a:gd name="connsiteY0" fmla="*/ 0 h 5157788"/>
              <a:gd name="connsiteX1" fmla="*/ 5760132 w 5760132"/>
              <a:gd name="connsiteY1" fmla="*/ 0 h 5157788"/>
              <a:gd name="connsiteX2" fmla="*/ 5760132 w 5760132"/>
              <a:gd name="connsiteY2" fmla="*/ 5157788 h 5157788"/>
              <a:gd name="connsiteX3" fmla="*/ 0 w 5760132"/>
              <a:gd name="connsiteY3" fmla="*/ 5153180 h 5157788"/>
              <a:gd name="connsiteX4" fmla="*/ 2736304 w 5760132"/>
              <a:gd name="connsiteY4" fmla="*/ 3461908 h 5157788"/>
              <a:gd name="connsiteX5" fmla="*/ 3024336 w 5760132"/>
              <a:gd name="connsiteY5" fmla="*/ 0 h 5157788"/>
              <a:gd name="connsiteX0" fmla="*/ 2160240 w 4896036"/>
              <a:gd name="connsiteY0" fmla="*/ 0 h 5157788"/>
              <a:gd name="connsiteX1" fmla="*/ 4896036 w 4896036"/>
              <a:gd name="connsiteY1" fmla="*/ 0 h 5157788"/>
              <a:gd name="connsiteX2" fmla="*/ 4896036 w 4896036"/>
              <a:gd name="connsiteY2" fmla="*/ 5157788 h 5157788"/>
              <a:gd name="connsiteX3" fmla="*/ 0 w 4896036"/>
              <a:gd name="connsiteY3" fmla="*/ 5153180 h 5157788"/>
              <a:gd name="connsiteX4" fmla="*/ 1872208 w 4896036"/>
              <a:gd name="connsiteY4" fmla="*/ 3461908 h 5157788"/>
              <a:gd name="connsiteX5" fmla="*/ 2160240 w 4896036"/>
              <a:gd name="connsiteY5" fmla="*/ 0 h 5157788"/>
              <a:gd name="connsiteX0" fmla="*/ 2232248 w 4968044"/>
              <a:gd name="connsiteY0" fmla="*/ 0 h 5157788"/>
              <a:gd name="connsiteX1" fmla="*/ 4968044 w 4968044"/>
              <a:gd name="connsiteY1" fmla="*/ 0 h 5157788"/>
              <a:gd name="connsiteX2" fmla="*/ 4968044 w 4968044"/>
              <a:gd name="connsiteY2" fmla="*/ 5157788 h 5157788"/>
              <a:gd name="connsiteX3" fmla="*/ 0 w 4968044"/>
              <a:gd name="connsiteY3" fmla="*/ 5153180 h 5157788"/>
              <a:gd name="connsiteX4" fmla="*/ 1944216 w 4968044"/>
              <a:gd name="connsiteY4" fmla="*/ 3461908 h 5157788"/>
              <a:gd name="connsiteX5" fmla="*/ 2232248 w 4968044"/>
              <a:gd name="connsiteY5" fmla="*/ 0 h 5157788"/>
              <a:gd name="connsiteX0" fmla="*/ 2207679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919647 w 4943475"/>
              <a:gd name="connsiteY4" fmla="*/ 3461908 h 5157788"/>
              <a:gd name="connsiteX5" fmla="*/ 2207679 w 4943475"/>
              <a:gd name="connsiteY5" fmla="*/ 0 h 5157788"/>
              <a:gd name="connsiteX0" fmla="*/ 2963763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919647 w 4943475"/>
              <a:gd name="connsiteY4" fmla="*/ 3461908 h 5157788"/>
              <a:gd name="connsiteX5" fmla="*/ 2963763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919647 w 4943475"/>
              <a:gd name="connsiteY4" fmla="*/ 3461908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092200 w 4943475"/>
              <a:gd name="connsiteY4" fmla="*/ 263455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71575 w 4943475"/>
              <a:gd name="connsiteY4" fmla="*/ 263455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343583 w 4943475"/>
              <a:gd name="connsiteY4" fmla="*/ 263455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675731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675731 w 4943475"/>
              <a:gd name="connsiteY5" fmla="*/ 0 h 5157788"/>
              <a:gd name="connsiteX0" fmla="*/ 2675731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675731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9672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19672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51412" h="5157788">
                <a:moveTo>
                  <a:pt x="2706687" y="0"/>
                </a:moveTo>
                <a:lnTo>
                  <a:pt x="4951412" y="0"/>
                </a:lnTo>
                <a:lnTo>
                  <a:pt x="4951412" y="5157788"/>
                </a:lnTo>
                <a:lnTo>
                  <a:pt x="0" y="5153180"/>
                </a:lnTo>
                <a:cubicBezTo>
                  <a:pt x="84411" y="4542509"/>
                  <a:pt x="183041" y="4024723"/>
                  <a:pt x="1243508" y="2562613"/>
                </a:cubicBezTo>
                <a:cubicBezTo>
                  <a:pt x="1867447" y="1704780"/>
                  <a:pt x="2665955" y="709265"/>
                  <a:pt x="2706687" y="0"/>
                </a:cubicBezTo>
                <a:close/>
              </a:path>
            </a:pathLst>
          </a:custGeom>
          <a:solidFill>
            <a:srgbClr val="878787"/>
          </a:solidFill>
          <a:ln w="3175">
            <a:noFill/>
          </a:ln>
        </p:spPr>
      </p:pic>
    </p:spTree>
    <p:extLst>
      <p:ext uri="{BB962C8B-B14F-4D97-AF65-F5344CB8AC3E}">
        <p14:creationId xmlns:p14="http://schemas.microsoft.com/office/powerpoint/2010/main" val="35173325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02570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250546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735149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352611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26" Type="http://schemas.openxmlformats.org/officeDocument/2006/relationships/tags" Target="../tags/tag2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tags" Target="../tags/tag20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6.xml"/><Relationship Id="rId24" Type="http://schemas.openxmlformats.org/officeDocument/2006/relationships/tags" Target="../tags/tag19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0.xml"/><Relationship Id="rId23" Type="http://schemas.openxmlformats.org/officeDocument/2006/relationships/tags" Target="../tags/tag18.xml"/><Relationship Id="rId28" Type="http://schemas.openxmlformats.org/officeDocument/2006/relationships/image" Target="../media/image1.emf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80175446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8"/>
            </p:custDataLst>
          </p:nvPr>
        </p:nvSpPr>
        <p:spPr>
          <a:xfrm>
            <a:off x="2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sz="1500" b="0" i="0" u="none" cap="none" baseline="0">
              <a:solidFill>
                <a:schemeClr val="bg1"/>
              </a:solidFill>
              <a:latin typeface="Arial" panose="020B0604020202020204" pitchFamily="34" charset="0"/>
              <a:ea typeface="Arial Unicode MS" panose="020B0604020202020204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25203" y="2649113"/>
            <a:ext cx="5853024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60252" y="524828"/>
            <a:ext cx="11471506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360252" y="-1025"/>
            <a:ext cx="5514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360252" y="847209"/>
            <a:ext cx="1147150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" name="Slide Elements" hidden="1"/>
          <p:cNvGrpSpPr/>
          <p:nvPr/>
        </p:nvGrpSpPr>
        <p:grpSpPr bwMode="auto">
          <a:xfrm>
            <a:off x="360250" y="6362520"/>
            <a:ext cx="9520352" cy="324227"/>
            <a:chOff x="121488" y="6396911"/>
            <a:chExt cx="8794113" cy="324227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121488" y="6396911"/>
              <a:ext cx="8794113" cy="1154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75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121488" y="6605722"/>
              <a:ext cx="8794112" cy="1154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352432" indent="-352432" defTabSz="685159" fontAlgn="base">
                <a:spcBef>
                  <a:spcPct val="0"/>
                </a:spcBef>
                <a:spcAft>
                  <a:spcPct val="0"/>
                </a:spcAft>
                <a:tabLst>
                  <a:tab pos="356004" algn="l"/>
                </a:tabLst>
              </a:pPr>
              <a:r>
                <a:rPr lang="en-US" sz="75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225203" y="2220268"/>
            <a:ext cx="5853024" cy="387119"/>
            <a:chOff x="915" y="791"/>
            <a:chExt cx="2686" cy="239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91"/>
              <a:ext cx="2686" cy="23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4" name="LegendBoxes" hidden="1"/>
          <p:cNvGrpSpPr>
            <a:grpSpLocks/>
          </p:cNvGrpSpPr>
          <p:nvPr/>
        </p:nvGrpSpPr>
        <p:grpSpPr bwMode="auto">
          <a:xfrm>
            <a:off x="10813652" y="489178"/>
            <a:ext cx="723901" cy="984251"/>
            <a:chOff x="4936" y="176"/>
            <a:chExt cx="342" cy="620"/>
          </a:xfrm>
        </p:grpSpPr>
        <p:sp>
          <p:nvSpPr>
            <p:cNvPr id="2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18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26" fontAlgn="base">
                <a:spcBef>
                  <a:spcPct val="0"/>
                </a:spcBef>
                <a:spcAft>
                  <a:spcPct val="0"/>
                </a:spcAft>
                <a:buClr>
                  <a:srgbClr val="95D6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900">
                <a:solidFill>
                  <a:srgbClr val="000000"/>
                </a:solidFill>
              </a:endParaRP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18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26" fontAlgn="base">
                <a:spcBef>
                  <a:spcPct val="0"/>
                </a:spcBef>
                <a:spcAft>
                  <a:spcPct val="0"/>
                </a:spcAft>
                <a:buClr>
                  <a:srgbClr val="95D6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900">
                <a:solidFill>
                  <a:srgbClr val="000000"/>
                </a:solidFill>
              </a:endParaRP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18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26" fontAlgn="base">
                <a:spcBef>
                  <a:spcPct val="0"/>
                </a:spcBef>
                <a:spcAft>
                  <a:spcPct val="0"/>
                </a:spcAft>
                <a:buClr>
                  <a:srgbClr val="95D6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900">
                <a:solidFill>
                  <a:srgbClr val="000000"/>
                </a:solidFill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18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26" fontAlgn="base">
                <a:spcBef>
                  <a:spcPct val="0"/>
                </a:spcBef>
                <a:spcAft>
                  <a:spcPct val="0"/>
                </a:spcAft>
                <a:buClr>
                  <a:srgbClr val="95D6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900">
                <a:solidFill>
                  <a:srgbClr val="000000"/>
                </a:solidFill>
              </a:endParaRPr>
            </a:p>
          </p:txBody>
        </p:sp>
      </p:grpSp>
      <p:grpSp>
        <p:nvGrpSpPr>
          <p:cNvPr id="33" name="LegendLines" hidden="1"/>
          <p:cNvGrpSpPr>
            <a:grpSpLocks/>
          </p:cNvGrpSpPr>
          <p:nvPr/>
        </p:nvGrpSpPr>
        <p:grpSpPr bwMode="auto">
          <a:xfrm>
            <a:off x="10403006" y="489178"/>
            <a:ext cx="1134535" cy="684213"/>
            <a:chOff x="4750" y="176"/>
            <a:chExt cx="536" cy="431"/>
          </a:xfrm>
        </p:grpSpPr>
        <p:sp>
          <p:nvSpPr>
            <p:cNvPr id="3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900">
                <a:solidFill>
                  <a:srgbClr val="000000"/>
                </a:solidFill>
              </a:endParaRPr>
            </a:p>
          </p:txBody>
        </p:sp>
        <p:sp>
          <p:nvSpPr>
            <p:cNvPr id="3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900">
                <a:solidFill>
                  <a:srgbClr val="000000"/>
                </a:solidFill>
              </a:endParaRPr>
            </a:p>
          </p:txBody>
        </p:sp>
        <p:sp>
          <p:nvSpPr>
            <p:cNvPr id="3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900">
                <a:solidFill>
                  <a:srgbClr val="000000"/>
                </a:solidFill>
              </a:endParaRPr>
            </a:p>
          </p:txBody>
        </p:sp>
        <p:sp>
          <p:nvSpPr>
            <p:cNvPr id="3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18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26" fontAlgn="base">
                <a:spcBef>
                  <a:spcPct val="0"/>
                </a:spcBef>
                <a:spcAft>
                  <a:spcPct val="0"/>
                </a:spcAft>
                <a:buClr>
                  <a:srgbClr val="95D6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18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26" fontAlgn="base">
                <a:spcBef>
                  <a:spcPct val="0"/>
                </a:spcBef>
                <a:spcAft>
                  <a:spcPct val="0"/>
                </a:spcAft>
                <a:buClr>
                  <a:srgbClr val="95D6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18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26" fontAlgn="base">
                <a:spcBef>
                  <a:spcPct val="0"/>
                </a:spcBef>
                <a:spcAft>
                  <a:spcPct val="0"/>
                </a:spcAft>
                <a:buClr>
                  <a:srgbClr val="95D6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0" name="McKSticker" hidden="1"/>
          <p:cNvGrpSpPr/>
          <p:nvPr/>
        </p:nvGrpSpPr>
        <p:grpSpPr bwMode="auto">
          <a:xfrm>
            <a:off x="11021778" y="489176"/>
            <a:ext cx="809964" cy="166199"/>
            <a:chOff x="8133302" y="285750"/>
            <a:chExt cx="607473" cy="166199"/>
          </a:xfrm>
        </p:grpSpPr>
        <p:sp>
          <p:nvSpPr>
            <p:cNvPr id="41" name="StickerRectangle"/>
            <p:cNvSpPr>
              <a:spLocks noChangeArrowheads="1"/>
            </p:cNvSpPr>
            <p:nvPr/>
          </p:nvSpPr>
          <p:spPr bwMode="auto">
            <a:xfrm>
              <a:off x="8133302" y="285750"/>
              <a:ext cx="607473" cy="16619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71526" fontAlgn="base">
                <a:spcBef>
                  <a:spcPct val="0"/>
                </a:spcBef>
                <a:spcAft>
                  <a:spcPct val="0"/>
                </a:spcAft>
                <a:buClr>
                  <a:srgbClr val="95D600"/>
                </a:buClr>
              </a:pPr>
              <a:r>
                <a:rPr lang="en-US" sz="90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2" name="AutoShape 31"/>
            <p:cNvCxnSpPr>
              <a:cxnSpLocks noChangeShapeType="1"/>
              <a:stCxn id="41" idx="2"/>
              <a:endCxn id="41" idx="4"/>
            </p:cNvCxnSpPr>
            <p:nvPr/>
          </p:nvCxnSpPr>
          <p:spPr bwMode="auto">
            <a:xfrm>
              <a:off x="8133302" y="285750"/>
              <a:ext cx="0" cy="166199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" name="AutoShape 32"/>
            <p:cNvCxnSpPr>
              <a:cxnSpLocks noChangeShapeType="1"/>
              <a:stCxn id="41" idx="4"/>
              <a:endCxn id="41" idx="6"/>
            </p:cNvCxnSpPr>
            <p:nvPr/>
          </p:nvCxnSpPr>
          <p:spPr bwMode="auto">
            <a:xfrm>
              <a:off x="8133302" y="451949"/>
              <a:ext cx="60747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4" name="LegendMoons" hidden="1"/>
          <p:cNvGrpSpPr/>
          <p:nvPr/>
        </p:nvGrpSpPr>
        <p:grpSpPr bwMode="auto">
          <a:xfrm>
            <a:off x="10724518" y="489174"/>
            <a:ext cx="812288" cy="1306516"/>
            <a:chOff x="6655594" y="273840"/>
            <a:chExt cx="609215" cy="1306516"/>
          </a:xfrm>
        </p:grpSpPr>
        <p:grpSp>
          <p:nvGrpSpPr>
            <p:cNvPr id="45" name="MoonLegend1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3" name="Oval 38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39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2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1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4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9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5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7" name="Oval 50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Oval 5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9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288540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26" fontAlgn="base">
                <a:spcBef>
                  <a:spcPct val="0"/>
                </a:spcBef>
                <a:spcAft>
                  <a:spcPct val="0"/>
                </a:spcAft>
                <a:buClr>
                  <a:srgbClr val="95D6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288540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26" fontAlgn="base">
                <a:spcBef>
                  <a:spcPct val="0"/>
                </a:spcBef>
                <a:spcAft>
                  <a:spcPct val="0"/>
                </a:spcAft>
                <a:buClr>
                  <a:srgbClr val="95D6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288540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26" fontAlgn="base">
                <a:spcBef>
                  <a:spcPct val="0"/>
                </a:spcBef>
                <a:spcAft>
                  <a:spcPct val="0"/>
                </a:spcAft>
                <a:buClr>
                  <a:srgbClr val="95D6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288540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26" fontAlgn="base">
                <a:spcBef>
                  <a:spcPct val="0"/>
                </a:spcBef>
                <a:spcAft>
                  <a:spcPct val="0"/>
                </a:spcAft>
                <a:buClr>
                  <a:srgbClr val="95D6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288540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26" fontAlgn="base">
                <a:spcBef>
                  <a:spcPct val="0"/>
                </a:spcBef>
                <a:spcAft>
                  <a:spcPct val="0"/>
                </a:spcAft>
                <a:buClr>
                  <a:srgbClr val="95D6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4" name="MoonLegend3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5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6" name="Slide Number"/>
          <p:cNvSpPr txBox="1">
            <a:spLocks/>
          </p:cNvSpPr>
          <p:nvPr/>
        </p:nvSpPr>
        <p:spPr bwMode="auto">
          <a:xfrm>
            <a:off x="11823191" y="6565552"/>
            <a:ext cx="105799" cy="10387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675" smtClean="0">
                <a:solidFill>
                  <a:srgbClr val="00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75">
              <a:solidFill>
                <a:srgbClr val="000000"/>
              </a:solidFill>
            </a:endParaRPr>
          </a:p>
        </p:txBody>
      </p:sp>
      <p:grpSp>
        <p:nvGrpSpPr>
          <p:cNvPr id="67" name="McK Moon" hidden="1"/>
          <p:cNvGrpSpPr>
            <a:grpSpLocks noChangeAspect="1"/>
          </p:cNvGrpSpPr>
          <p:nvPr>
            <p:custDataLst>
              <p:tags r:id="rId9"/>
            </p:custDataLst>
          </p:nvPr>
        </p:nvGrpSpPr>
        <p:grpSpPr bwMode="auto">
          <a:xfrm>
            <a:off x="10724513" y="2274832"/>
            <a:ext cx="338667" cy="254000"/>
            <a:chOff x="1600" y="1600"/>
            <a:chExt cx="160" cy="160"/>
          </a:xfrm>
        </p:grpSpPr>
        <p:sp>
          <p:nvSpPr>
            <p:cNvPr id="68" name="Oval 90"/>
            <p:cNvSpPr>
              <a:spLocks noChangeAspect="1"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69" name="Arc 91"/>
            <p:cNvSpPr>
              <a:spLocks noChangeAspect="1"/>
            </p:cNvSpPr>
            <p:nvPr>
              <p:custDataLst>
                <p:tags r:id="rId11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</p:grpSp>
      <p:sp>
        <p:nvSpPr>
          <p:cNvPr id="71" name="Rectangle 70"/>
          <p:cNvSpPr/>
          <p:nvPr/>
        </p:nvSpPr>
        <p:spPr bwMode="auto">
          <a:xfrm>
            <a:off x="360249" y="788830"/>
            <a:ext cx="2111557" cy="25200"/>
          </a:xfrm>
          <a:prstGeom prst="rect">
            <a:avLst/>
          </a:prstGeom>
          <a:solidFill>
            <a:srgbClr val="95D6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1350" kern="0">
              <a:solidFill>
                <a:sysClr val="window" lastClr="FFFFFF"/>
              </a:solidFill>
            </a:endParaRPr>
          </a:p>
        </p:txBody>
      </p:sp>
      <p:pic>
        <p:nvPicPr>
          <p:cNvPr id="70" name="Image 12" descr="Logo_suite_50x30.png"/>
          <p:cNvPicPr>
            <a:picLocks noChangeAspect="1"/>
          </p:cNvPicPr>
          <p:nvPr/>
        </p:nvPicPr>
        <p:blipFill rotWithShape="1">
          <a:blip r:embed="rId29" cstate="print"/>
          <a:srcRect l="10380" t="40368" r="25400" b="16785"/>
          <a:stretch/>
        </p:blipFill>
        <p:spPr bwMode="auto">
          <a:xfrm>
            <a:off x="10041133" y="6305736"/>
            <a:ext cx="1541270" cy="461963"/>
          </a:xfrm>
          <a:prstGeom prst="rect">
            <a:avLst/>
          </a:prstGeom>
        </p:spPr>
      </p:pic>
      <p:sp>
        <p:nvSpPr>
          <p:cNvPr id="72" name="Rectangle 71"/>
          <p:cNvSpPr/>
          <p:nvPr/>
        </p:nvSpPr>
        <p:spPr bwMode="auto">
          <a:xfrm>
            <a:off x="10080444" y="6199978"/>
            <a:ext cx="2111557" cy="25200"/>
          </a:xfrm>
          <a:prstGeom prst="rect">
            <a:avLst/>
          </a:prstGeom>
          <a:solidFill>
            <a:srgbClr val="95D6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1350" kern="0">
              <a:solidFill>
                <a:sysClr val="window" lastClr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78875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hf hdr="0" dt="0"/>
  <p:txStyles>
    <p:titleStyle>
      <a:lvl1pPr algn="l" defTabSz="685159" rtl="0" eaLnBrk="1" fontAlgn="base" hangingPunct="1">
        <a:spcBef>
          <a:spcPct val="0"/>
        </a:spcBef>
        <a:spcAft>
          <a:spcPct val="0"/>
        </a:spcAft>
        <a:tabLst>
          <a:tab pos="206519" algn="l"/>
        </a:tabLst>
        <a:defRPr sz="1500" b="0" cap="none" baseline="0">
          <a:solidFill>
            <a:schemeClr val="accent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685159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2pPr>
      <a:lvl3pPr algn="l" defTabSz="685159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3pPr>
      <a:lvl4pPr algn="l" defTabSz="685159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4pPr>
      <a:lvl5pPr algn="l" defTabSz="685159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5pPr>
      <a:lvl6pPr marL="349868" algn="l" defTabSz="685159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6pPr>
      <a:lvl7pPr marL="699736" algn="l" defTabSz="685159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7pPr>
      <a:lvl8pPr marL="1049603" algn="l" defTabSz="685159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8pPr>
      <a:lvl9pPr marL="1399472" algn="l" defTabSz="685159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5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48208" indent="-146993" algn="l" defTabSz="68515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2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349868" indent="-200445" algn="l" defTabSz="68515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470135" indent="-119052" algn="l" defTabSz="68515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▫"/>
        <a:defRPr sz="12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573784" indent="-99616" algn="l" defTabSz="68515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573784" indent="-99616" algn="l" defTabSz="68515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6pPr>
      <a:lvl7pPr marL="573784" indent="-99616" algn="l" defTabSz="68515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7pPr>
      <a:lvl8pPr marL="573784" indent="-99616" algn="l" defTabSz="68515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8pPr>
      <a:lvl9pPr marL="573784" indent="-99616" algn="l" defTabSz="68515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973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9868" algn="l" defTabSz="69973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99736" algn="l" defTabSz="69973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49603" algn="l" defTabSz="69973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99472" algn="l" defTabSz="69973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49340" algn="l" defTabSz="69973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99207" algn="l" defTabSz="69973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49075" algn="l" defTabSz="69973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98943" algn="l" defTabSz="69973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8.emf"/><Relationship Id="rId11" Type="http://schemas.openxmlformats.org/officeDocument/2006/relationships/image" Target="../media/image13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2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C24BCE8-0188-C0D3-5FA2-F9DE3CE9C0DE}"/>
              </a:ext>
            </a:extLst>
          </p:cNvPr>
          <p:cNvSpPr/>
          <p:nvPr/>
        </p:nvSpPr>
        <p:spPr>
          <a:xfrm>
            <a:off x="40222" y="380144"/>
            <a:ext cx="3257254" cy="121476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904A857-2408-88A5-3DC8-1A326256F290}"/>
              </a:ext>
            </a:extLst>
          </p:cNvPr>
          <p:cNvSpPr/>
          <p:nvPr/>
        </p:nvSpPr>
        <p:spPr>
          <a:xfrm>
            <a:off x="9507899" y="5214122"/>
            <a:ext cx="2668649" cy="157486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bg1"/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2094305"/>
              </p:ext>
            </p:extLst>
          </p:nvPr>
        </p:nvGraphicFramePr>
        <p:xfrm>
          <a:off x="2668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68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65528E8C-82B7-41F8-A8BC-3894DC0C6DC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091" y="965652"/>
            <a:ext cx="850203" cy="322762"/>
          </a:xfrm>
          <a:prstGeom prst="rect">
            <a:avLst/>
          </a:prstGeom>
        </p:spPr>
      </p:pic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2667001" y="857251"/>
            <a:ext cx="119063" cy="119063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418" fontAlgn="base">
              <a:spcBef>
                <a:spcPct val="0"/>
              </a:spcBef>
              <a:spcAft>
                <a:spcPct val="0"/>
              </a:spcAft>
            </a:pPr>
            <a:endParaRPr lang="en-GB" sz="1000" b="1" i="1">
              <a:solidFill>
                <a:srgbClr val="FFFFFF"/>
              </a:solidFill>
              <a:latin typeface="Calibri" panose="020F0502020204030204" pitchFamily="34" charset="0"/>
              <a:ea typeface="Arial Unicode MS" panose="020B0604020202020204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022455" y="817336"/>
            <a:ext cx="19919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18" fontAlgn="base">
              <a:spcBef>
                <a:spcPct val="0"/>
              </a:spcBef>
              <a:spcAft>
                <a:spcPct val="0"/>
              </a:spcAft>
            </a:pPr>
            <a:r>
              <a:rPr lang="en-GB" sz="1200" b="1">
                <a:solidFill>
                  <a:srgbClr val="005CB9"/>
                </a:solidFill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OUTCOMES</a:t>
            </a:r>
          </a:p>
        </p:txBody>
      </p:sp>
      <p:sp>
        <p:nvSpPr>
          <p:cNvPr id="102" name="Pentagon 101"/>
          <p:cNvSpPr/>
          <p:nvPr/>
        </p:nvSpPr>
        <p:spPr>
          <a:xfrm>
            <a:off x="175873" y="174632"/>
            <a:ext cx="5920128" cy="646453"/>
          </a:xfrm>
          <a:prstGeom prst="homePlate">
            <a:avLst>
              <a:gd name="adj" fmla="val 18398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defTabSz="914418"/>
            <a:endParaRPr lang="en-GB" sz="1000" b="1" i="1" dirty="0">
              <a:solidFill>
                <a:srgbClr val="343434"/>
              </a:solidFill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  <a:p>
            <a:pPr defTabSz="914418"/>
            <a:r>
              <a:rPr lang="en-GB" sz="1000" b="1" i="1" dirty="0">
                <a:solidFill>
                  <a:srgbClr val="343434"/>
                </a:solidFill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From…</a:t>
            </a:r>
          </a:p>
          <a:p>
            <a:pPr defTabSz="685814"/>
            <a:r>
              <a:rPr lang="en-GB" sz="1000" dirty="0">
                <a:solidFill>
                  <a:srgbClr val="343434"/>
                </a:solidFill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A relatively strong performing NIP that is challenged by: </a:t>
            </a:r>
            <a:r>
              <a:rPr lang="en-US" sz="1000" dirty="0">
                <a:solidFill>
                  <a:srgbClr val="343434"/>
                </a:solidFill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weak demand for vaccination services amongst certain groups; low uptake of HPV and MCV2; outdated supply chain with gaps in key service areas needed to reach zero-dose children; inconsistent fund flows to support domestic vaccine financing</a:t>
            </a:r>
          </a:p>
          <a:p>
            <a:pPr defTabSz="685814"/>
            <a:endParaRPr lang="en-GB" sz="1000" b="1" i="1" dirty="0">
              <a:solidFill>
                <a:srgbClr val="343434"/>
              </a:solidFill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103" name="Chevron 102"/>
          <p:cNvSpPr/>
          <p:nvPr/>
        </p:nvSpPr>
        <p:spPr>
          <a:xfrm>
            <a:off x="6167120" y="174633"/>
            <a:ext cx="5985269" cy="642703"/>
          </a:xfrm>
          <a:prstGeom prst="chevron">
            <a:avLst>
              <a:gd name="adj" fmla="val 23636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defTabSz="914418"/>
            <a:r>
              <a:rPr lang="en-GB" sz="900" b="1" i="1" dirty="0"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To…</a:t>
            </a:r>
          </a:p>
          <a:p>
            <a:pPr defTabSz="914418"/>
            <a:r>
              <a:rPr lang="en-US" sz="900" dirty="0"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Increase in immunisation coverage among low-dose communities (up to national average or better); Updated CCE inventory and strengthened CC capacity with RTM, successfully introduce HPV to all adolescent girls and increase MCV2 uptake thereby reducing incidence of outbreaks; sufficient and timely fund flow for vaccine programme</a:t>
            </a:r>
          </a:p>
        </p:txBody>
      </p:sp>
      <p:sp>
        <p:nvSpPr>
          <p:cNvPr id="86" name="Title 1"/>
          <p:cNvSpPr>
            <a:spLocks noGrp="1"/>
          </p:cNvSpPr>
          <p:nvPr>
            <p:ph type="title"/>
          </p:nvPr>
        </p:nvSpPr>
        <p:spPr>
          <a:xfrm>
            <a:off x="5101515" y="-2415"/>
            <a:ext cx="1988970" cy="184666"/>
          </a:xfrm>
        </p:spPr>
        <p:txBody>
          <a:bodyPr vert="horz"/>
          <a:lstStyle/>
          <a:p>
            <a:pPr algn="ctr"/>
            <a:r>
              <a:rPr lang="en-GB" sz="1000" b="1" i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ORY OF  CHANGE: </a:t>
            </a:r>
            <a:r>
              <a:rPr lang="en-GB" sz="1200" b="1" i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tooine</a:t>
            </a:r>
            <a:endParaRPr lang="en-GB" sz="1000" b="1" i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190438" y="816153"/>
            <a:ext cx="25087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18" fontAlgn="base">
              <a:spcBef>
                <a:spcPct val="0"/>
              </a:spcBef>
              <a:spcAft>
                <a:spcPct val="0"/>
              </a:spcAft>
            </a:pPr>
            <a:r>
              <a:rPr lang="en-GB" sz="1200" b="1">
                <a:solidFill>
                  <a:srgbClr val="005CB9"/>
                </a:solidFill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CHALLENGES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3369597" y="778440"/>
            <a:ext cx="23690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18" fontAlgn="base">
              <a:spcBef>
                <a:spcPct val="0"/>
              </a:spcBef>
              <a:spcAft>
                <a:spcPct val="0"/>
              </a:spcAft>
            </a:pPr>
            <a:r>
              <a:rPr lang="de-CH" sz="1200" b="1">
                <a:solidFill>
                  <a:srgbClr val="005CB9"/>
                </a:solidFill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INPUTS &amp; INTERVENTIONS </a:t>
            </a:r>
            <a:endParaRPr lang="en-GB" sz="1200" b="1">
              <a:solidFill>
                <a:srgbClr val="005CB9"/>
              </a:solidFill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83F52F8-D7E7-42FD-9FB5-8F23B04017AF}"/>
              </a:ext>
            </a:extLst>
          </p:cNvPr>
          <p:cNvSpPr txBox="1"/>
          <p:nvPr/>
        </p:nvSpPr>
        <p:spPr>
          <a:xfrm>
            <a:off x="6463493" y="801225"/>
            <a:ext cx="9048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18" fontAlgn="base">
              <a:spcBef>
                <a:spcPct val="0"/>
              </a:spcBef>
              <a:spcAft>
                <a:spcPct val="0"/>
              </a:spcAft>
            </a:pPr>
            <a:r>
              <a:rPr lang="de-CH" sz="1200" b="1">
                <a:solidFill>
                  <a:srgbClr val="005CB9"/>
                </a:solidFill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OUTPUTS</a:t>
            </a:r>
            <a:endParaRPr lang="en-GB" sz="1200" b="1">
              <a:solidFill>
                <a:srgbClr val="005CB9"/>
              </a:solidFill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B60456B-59B0-49CD-B48C-E239D0AE9C79}"/>
              </a:ext>
            </a:extLst>
          </p:cNvPr>
          <p:cNvSpPr txBox="1"/>
          <p:nvPr/>
        </p:nvSpPr>
        <p:spPr>
          <a:xfrm>
            <a:off x="3137493" y="5326698"/>
            <a:ext cx="2703862" cy="369332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defTabSz="960120"/>
            <a:r>
              <a:rPr lang="en-GB" sz="9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roduce HPV vaccine in 2023; introduction campaign; incorporation into RI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6730387-AB38-4BD3-8BEF-3E2AD30166BE}"/>
              </a:ext>
            </a:extLst>
          </p:cNvPr>
          <p:cNvSpPr txBox="1"/>
          <p:nvPr/>
        </p:nvSpPr>
        <p:spPr>
          <a:xfrm>
            <a:off x="6279874" y="4952571"/>
            <a:ext cx="2510917" cy="369332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R="1000"/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PV introduced and subsequently offered at every health clinic by 2024</a:t>
            </a:r>
            <a:r>
              <a:rPr lang="en-GB" sz="900" dirty="0">
                <a:latin typeface="Calibri" panose="020F0502020204030204" pitchFamily="34" charset="0"/>
                <a:cs typeface="Calibri" panose="020F0502020204030204" pitchFamily="34" charset="0"/>
              </a:rPr>
              <a:t>; </a:t>
            </a:r>
            <a:endParaRPr lang="en-US" sz="9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755F2A3-0232-4810-9B87-E44C00CFA2C3}"/>
              </a:ext>
            </a:extLst>
          </p:cNvPr>
          <p:cNvSpPr txBox="1"/>
          <p:nvPr/>
        </p:nvSpPr>
        <p:spPr>
          <a:xfrm>
            <a:off x="6302885" y="3123667"/>
            <a:ext cx="2480724" cy="369332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sz="900" dirty="0">
                <a:latin typeface="Calibri" panose="020F0502020204030204" pitchFamily="34" charset="0"/>
                <a:cs typeface="Calibri" panose="020F0502020204030204" pitchFamily="34" charset="0"/>
              </a:rPr>
              <a:t>Improve EVM scores at levels and  ensure continuous stock availability at the facility level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56453DA-7801-403F-A2F8-78475AC760DB}"/>
              </a:ext>
            </a:extLst>
          </p:cNvPr>
          <p:cNvSpPr txBox="1"/>
          <p:nvPr/>
        </p:nvSpPr>
        <p:spPr>
          <a:xfrm>
            <a:off x="3131212" y="1483923"/>
            <a:ext cx="2661920" cy="584775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sz="800" dirty="0">
                <a:latin typeface="Calibri" panose="020F0502020204030204" pitchFamily="34" charset="0"/>
                <a:cs typeface="Calibri" panose="020F0502020204030204" pitchFamily="34" charset="0"/>
              </a:rPr>
              <a:t>Engage </a:t>
            </a:r>
            <a:r>
              <a:rPr 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Wookie Immunisation Association of Leaders (WIAL) </a:t>
            </a:r>
            <a:r>
              <a:rPr lang="en-GB" sz="800" dirty="0">
                <a:latin typeface="Calibri" panose="020F0502020204030204" pitchFamily="34" charset="0"/>
                <a:cs typeface="Calibri" panose="020F0502020204030204" pitchFamily="34" charset="0"/>
              </a:rPr>
              <a:t>and community leaders; train in social mobilisation strategies; conduct mobilisation campaigns to inform on RI and upcoming campaigns; TV, radio, community events, etc</a:t>
            </a:r>
            <a:endParaRPr lang="en-GB" sz="8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0C1D2F2-4193-4008-943E-64CC6220B7E0}"/>
              </a:ext>
            </a:extLst>
          </p:cNvPr>
          <p:cNvSpPr txBox="1"/>
          <p:nvPr/>
        </p:nvSpPr>
        <p:spPr>
          <a:xfrm>
            <a:off x="6310566" y="3823133"/>
            <a:ext cx="2478027" cy="646331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gramme Management and </a:t>
            </a:r>
            <a:r>
              <a:rPr lang="en-GB" sz="900" dirty="0">
                <a:latin typeface="Calibri" panose="020F0502020204030204" pitchFamily="34" charset="0"/>
                <a:cs typeface="Calibri" panose="020F0502020204030204" pitchFamily="34" charset="0"/>
              </a:rPr>
              <a:t>governance strengthened  in whole n</a:t>
            </a:r>
            <a:r>
              <a:rPr lang="en-GB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tional immunisation program with effective M&amp;E and project planning budgeting capacities in plac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085FFA0-1F0D-4CD4-9BA2-74276A00880B}"/>
              </a:ext>
            </a:extLst>
          </p:cNvPr>
          <p:cNvSpPr txBox="1"/>
          <p:nvPr/>
        </p:nvSpPr>
        <p:spPr>
          <a:xfrm>
            <a:off x="3134360" y="2802360"/>
            <a:ext cx="2683500" cy="369332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sz="900" dirty="0">
                <a:latin typeface="Calibri" panose="020F0502020204030204" pitchFamily="34" charset="0"/>
                <a:cs typeface="Calibri" panose="020F0502020204030204" pitchFamily="34" charset="0"/>
              </a:rPr>
              <a:t>Increase the CCE capacity by 400 units to service delivery level; update 50 retired units 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11170B0-D436-4CA6-9233-1424F780167C}"/>
              </a:ext>
            </a:extLst>
          </p:cNvPr>
          <p:cNvSpPr txBox="1"/>
          <p:nvPr/>
        </p:nvSpPr>
        <p:spPr>
          <a:xfrm>
            <a:off x="3131212" y="1090425"/>
            <a:ext cx="2661920" cy="369332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sz="900" dirty="0">
                <a:latin typeface="Calibri" panose="020F0502020204030204" pitchFamily="34" charset="0"/>
                <a:cs typeface="Calibri" panose="020F0502020204030204" pitchFamily="34" charset="0"/>
              </a:rPr>
              <a:t>Conduct ZD analysis to identify all areas of missed children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1A19A017-B2DA-48AA-B91F-64D63F92184D}"/>
              </a:ext>
            </a:extLst>
          </p:cNvPr>
          <p:cNvSpPr txBox="1"/>
          <p:nvPr/>
        </p:nvSpPr>
        <p:spPr>
          <a:xfrm>
            <a:off x="3136946" y="4952571"/>
            <a:ext cx="2704410" cy="369332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900" dirty="0">
                <a:latin typeface="Calibri" panose="020F0502020204030204" pitchFamily="34" charset="0"/>
                <a:cs typeface="Calibri" panose="020F0502020204030204" pitchFamily="34" charset="0"/>
              </a:rPr>
              <a:t>Measles campaign in low-coverage areas identified by ZD analysis; couples with RI campaign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FB08F01D-D205-41A8-87CF-D8B4125AA9FF}"/>
              </a:ext>
            </a:extLst>
          </p:cNvPr>
          <p:cNvSpPr txBox="1"/>
          <p:nvPr/>
        </p:nvSpPr>
        <p:spPr>
          <a:xfrm>
            <a:off x="3134360" y="3610798"/>
            <a:ext cx="2689290" cy="507831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sz="900" dirty="0">
                <a:latin typeface="Calibri" panose="020F0502020204030204" pitchFamily="34" charset="0"/>
                <a:cs typeface="Calibri" panose="020F0502020204030204" pitchFamily="34" charset="0"/>
              </a:rPr>
              <a:t>Ensure continued improvement in </a:t>
            </a:r>
            <a:r>
              <a:rPr lang="en-GB" sz="900" dirty="0" err="1">
                <a:latin typeface="Calibri" panose="020F0502020204030204" pitchFamily="34" charset="0"/>
                <a:cs typeface="Calibri" panose="020F0502020204030204" pitchFamily="34" charset="0"/>
              </a:rPr>
              <a:t>programmme</a:t>
            </a:r>
            <a:r>
              <a:rPr lang="en-GB" sz="900" dirty="0">
                <a:latin typeface="Calibri" panose="020F0502020204030204" pitchFamily="34" charset="0"/>
                <a:cs typeface="Calibri" panose="020F0502020204030204" pitchFamily="34" charset="0"/>
              </a:rPr>
              <a:t> leadership and management through staffing, supportive supervision, capacity building &amp; budgeting</a:t>
            </a: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27B5639E-F9BB-4AB0-9043-5B5E193DBEF3}"/>
              </a:ext>
            </a:extLst>
          </p:cNvPr>
          <p:cNvSpPr txBox="1"/>
          <p:nvPr/>
        </p:nvSpPr>
        <p:spPr>
          <a:xfrm>
            <a:off x="3131212" y="2092864"/>
            <a:ext cx="2661920" cy="507831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900" dirty="0">
                <a:latin typeface="Calibri" panose="020F0502020204030204" pitchFamily="34" charset="0"/>
                <a:cs typeface="Calibri" panose="020F0502020204030204" pitchFamily="34" charset="0"/>
              </a:rPr>
              <a:t>Build capacity for medical providers on planning, community engagement and strategies to target identified communities/populations</a:t>
            </a: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2B706D9C-D112-48A8-9CF7-876FA779B276}"/>
              </a:ext>
            </a:extLst>
          </p:cNvPr>
          <p:cNvSpPr txBox="1"/>
          <p:nvPr/>
        </p:nvSpPr>
        <p:spPr>
          <a:xfrm>
            <a:off x="9125436" y="3309886"/>
            <a:ext cx="2096277" cy="784830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sz="900" dirty="0">
                <a:latin typeface="Calibri" panose="020F0502020204030204" pitchFamily="34" charset="0"/>
                <a:cs typeface="Calibri" panose="020F0502020204030204" pitchFamily="34" charset="0"/>
              </a:rPr>
              <a:t>Improved efficiency in planning and allocation of resources of immunisation programmes for </a:t>
            </a:r>
            <a:r>
              <a:rPr lang="en-GB" sz="900" b="1" dirty="0">
                <a:latin typeface="Calibri" panose="020F0502020204030204" pitchFamily="34" charset="0"/>
                <a:cs typeface="Calibri" panose="020F0502020204030204" pitchFamily="34" charset="0"/>
              </a:rPr>
              <a:t>sustainable high coverage </a:t>
            </a:r>
            <a:r>
              <a:rPr lang="en-GB" sz="900" dirty="0">
                <a:latin typeface="Calibri" panose="020F0502020204030204" pitchFamily="34" charset="0"/>
                <a:cs typeface="Calibri" panose="020F0502020204030204" pitchFamily="34" charset="0"/>
              </a:rPr>
              <a:t>over time.</a:t>
            </a:r>
          </a:p>
          <a:p>
            <a:r>
              <a:rPr lang="en-GB" sz="900" i="1" dirty="0">
                <a:latin typeface="Calibri" panose="020F0502020204030204" pitchFamily="34" charset="0"/>
                <a:cs typeface="Calibri" panose="020F0502020204030204" pitchFamily="34" charset="0"/>
              </a:rPr>
              <a:t>(Linked to Gavi SG3)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BC1F0891-698A-4A68-BCBD-41B6D094154F}"/>
              </a:ext>
            </a:extLst>
          </p:cNvPr>
          <p:cNvSpPr txBox="1"/>
          <p:nvPr/>
        </p:nvSpPr>
        <p:spPr>
          <a:xfrm>
            <a:off x="105753" y="1285270"/>
            <a:ext cx="2568608" cy="106182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en-US"/>
            </a:defPPr>
            <a:lvl1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  <a:defRPr sz="140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 sz="900" dirty="0"/>
              <a:t>Migrant communities and peri-urban population from </a:t>
            </a:r>
            <a:r>
              <a:rPr lang="en-GB" sz="900" dirty="0" err="1"/>
              <a:t>Gungan</a:t>
            </a:r>
            <a:r>
              <a:rPr lang="en-GB" sz="900" dirty="0"/>
              <a:t> City, Cloud City, Coruscant and </a:t>
            </a:r>
            <a:r>
              <a:rPr lang="en-GB" sz="900" dirty="0" err="1"/>
              <a:t>Theed</a:t>
            </a:r>
            <a:r>
              <a:rPr lang="en-GB" sz="900" dirty="0"/>
              <a:t> region are missing childhood vaccination services (12-18% of birth cohort)</a:t>
            </a:r>
          </a:p>
          <a:p>
            <a:r>
              <a:rPr lang="en-GB" sz="900" dirty="0"/>
              <a:t>Prevailing misconceptions on the value of vaccines in urban areas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343FBD5D-B1DE-4D2F-8985-52E986BBF86F}"/>
              </a:ext>
            </a:extLst>
          </p:cNvPr>
          <p:cNvSpPr txBox="1"/>
          <p:nvPr/>
        </p:nvSpPr>
        <p:spPr>
          <a:xfrm>
            <a:off x="101927" y="3007181"/>
            <a:ext cx="2576260" cy="92333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GB" sz="9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aps in the immunisation </a:t>
            </a:r>
            <a:r>
              <a:rPr lang="en-GB" sz="9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upply chain </a:t>
            </a:r>
            <a:r>
              <a:rPr lang="en-GB" sz="9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ystems to ensure continuous and quality availability of vaccines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GB" sz="9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eed to update CCE</a:t>
            </a:r>
            <a:endParaRPr lang="en-GB" sz="9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GB" sz="9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pacity to </a:t>
            </a:r>
            <a:r>
              <a:rPr lang="en-GB" sz="9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nage </a:t>
            </a:r>
            <a:r>
              <a:rPr lang="en-GB" sz="9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d </a:t>
            </a:r>
            <a:r>
              <a:rPr lang="en-GB" sz="9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onitor </a:t>
            </a:r>
            <a:r>
              <a:rPr lang="en-GB" sz="9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 supply chain capacity &amp; CCE</a:t>
            </a:r>
            <a:endParaRPr lang="en-GB" sz="9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CABC7165-8D86-4A33-BA50-50E795850532}"/>
              </a:ext>
            </a:extLst>
          </p:cNvPr>
          <p:cNvSpPr txBox="1"/>
          <p:nvPr/>
        </p:nvSpPr>
        <p:spPr>
          <a:xfrm>
            <a:off x="121564" y="4967891"/>
            <a:ext cx="2521313" cy="646331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GB" sz="9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dolescent girls are not protected against vaccine preventable diseases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GB" sz="9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riodic outbreaks of Measles in low coverage areas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02790813-7D2D-4AA2-A715-B97A32787C36}"/>
              </a:ext>
            </a:extLst>
          </p:cNvPr>
          <p:cNvSpPr txBox="1"/>
          <p:nvPr/>
        </p:nvSpPr>
        <p:spPr>
          <a:xfrm>
            <a:off x="6300833" y="1403506"/>
            <a:ext cx="2463885" cy="507831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sz="900">
                <a:latin typeface="Calibri" panose="020F0502020204030204" pitchFamily="34" charset="0"/>
                <a:cs typeface="Calibri" panose="020F0502020204030204" pitchFamily="34" charset="0"/>
              </a:rPr>
              <a:t>Immunisation catch-up campaigns conducted in </a:t>
            </a:r>
            <a:r>
              <a:rPr lang="en-GB" sz="900" err="1">
                <a:latin typeface="Calibri" panose="020F0502020204030204" pitchFamily="34" charset="0"/>
                <a:cs typeface="Calibri" panose="020F0502020204030204" pitchFamily="34" charset="0"/>
              </a:rPr>
              <a:t>Gungan</a:t>
            </a:r>
            <a:r>
              <a:rPr lang="en-GB" sz="900">
                <a:latin typeface="Calibri" panose="020F0502020204030204" pitchFamily="34" charset="0"/>
                <a:cs typeface="Calibri" panose="020F0502020204030204" pitchFamily="34" charset="0"/>
              </a:rPr>
              <a:t> City, Cloud City, Coruscant, </a:t>
            </a:r>
            <a:r>
              <a:rPr lang="en-GB" sz="900" err="1">
                <a:latin typeface="Calibri" panose="020F0502020204030204" pitchFamily="34" charset="0"/>
                <a:cs typeface="Calibri" panose="020F0502020204030204" pitchFamily="34" charset="0"/>
              </a:rPr>
              <a:t>Theed</a:t>
            </a:r>
            <a:r>
              <a:rPr lang="en-GB" sz="900">
                <a:latin typeface="Calibri" panose="020F0502020204030204" pitchFamily="34" charset="0"/>
                <a:cs typeface="Calibri" panose="020F0502020204030204" pitchFamily="34" charset="0"/>
              </a:rPr>
              <a:t>, and other identified missed communities</a:t>
            </a:r>
            <a:endParaRPr lang="en-GB" sz="9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87E59D86-100B-498E-824F-3B3C28E57EC9}"/>
              </a:ext>
            </a:extLst>
          </p:cNvPr>
          <p:cNvSpPr txBox="1"/>
          <p:nvPr/>
        </p:nvSpPr>
        <p:spPr>
          <a:xfrm>
            <a:off x="6295704" y="1970899"/>
            <a:ext cx="2495087" cy="507831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sz="90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Us</a:t>
            </a:r>
            <a:r>
              <a:rPr lang="en-GB" sz="9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with local NGOs; community engagement strategies developed min 4 months before each campaign. </a:t>
            </a:r>
            <a:endParaRPr lang="en-GB" sz="11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E1183762-6C28-403F-B685-A46CDAFFA417}"/>
              </a:ext>
            </a:extLst>
          </p:cNvPr>
          <p:cNvSpPr txBox="1"/>
          <p:nvPr/>
        </p:nvSpPr>
        <p:spPr>
          <a:xfrm>
            <a:off x="3134360" y="3206579"/>
            <a:ext cx="2683501" cy="369332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sz="900" dirty="0">
                <a:latin typeface="Calibri" panose="020F0502020204030204" pitchFamily="34" charset="0"/>
                <a:cs typeface="Calibri" panose="020F0502020204030204" pitchFamily="34" charset="0"/>
              </a:rPr>
              <a:t>Expand service contracts with 3 new CCE repair companies/contractors enabling for efficient repairs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4F6C4853-1F58-43B7-8CF0-588B75275719}"/>
              </a:ext>
            </a:extLst>
          </p:cNvPr>
          <p:cNvSpPr txBox="1"/>
          <p:nvPr/>
        </p:nvSpPr>
        <p:spPr>
          <a:xfrm>
            <a:off x="3134360" y="4153517"/>
            <a:ext cx="2681719" cy="507831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sz="900" dirty="0">
                <a:latin typeface="Calibri" panose="020F0502020204030204" pitchFamily="34" charset="0"/>
                <a:cs typeface="Calibri" panose="020F0502020204030204" pitchFamily="34" charset="0"/>
              </a:rPr>
              <a:t>Strengthen quality of data capture, use and integration with DHIS2 system; Implementation of RTM devices</a:t>
            </a:r>
          </a:p>
        </p:txBody>
      </p:sp>
      <p:pic>
        <p:nvPicPr>
          <p:cNvPr id="98" name="Picture 97">
            <a:extLst>
              <a:ext uri="{FF2B5EF4-FFF2-40B4-BE49-F238E27FC236}">
                <a16:creationId xmlns:a16="http://schemas.microsoft.com/office/drawing/2014/main" id="{27DE31C0-BD8C-45DA-A315-72036AB0798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392563" y="1264072"/>
            <a:ext cx="780346" cy="4540197"/>
          </a:xfrm>
          <a:prstGeom prst="rect">
            <a:avLst/>
          </a:prstGeom>
        </p:spPr>
      </p:pic>
      <p:sp>
        <p:nvSpPr>
          <p:cNvPr id="128" name="TextBox 127">
            <a:extLst>
              <a:ext uri="{FF2B5EF4-FFF2-40B4-BE49-F238E27FC236}">
                <a16:creationId xmlns:a16="http://schemas.microsoft.com/office/drawing/2014/main" id="{D475C894-42A1-478D-B145-65768F223021}"/>
              </a:ext>
            </a:extLst>
          </p:cNvPr>
          <p:cNvSpPr txBox="1"/>
          <p:nvPr/>
        </p:nvSpPr>
        <p:spPr>
          <a:xfrm>
            <a:off x="11221713" y="808919"/>
            <a:ext cx="990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18" fontAlgn="base">
              <a:spcBef>
                <a:spcPct val="0"/>
              </a:spcBef>
              <a:spcAft>
                <a:spcPct val="0"/>
              </a:spcAft>
            </a:pPr>
            <a:r>
              <a:rPr lang="en-GB" sz="1200" b="1">
                <a:solidFill>
                  <a:srgbClr val="005CB9"/>
                </a:solidFill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IMPACT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1B4B191D-3F74-4AB5-BBA0-DFD2C735C004}"/>
              </a:ext>
            </a:extLst>
          </p:cNvPr>
          <p:cNvSpPr txBox="1"/>
          <p:nvPr/>
        </p:nvSpPr>
        <p:spPr>
          <a:xfrm>
            <a:off x="9125436" y="4933205"/>
            <a:ext cx="2096277" cy="646331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sz="900" b="1" dirty="0">
                <a:latin typeface="Calibri" panose="020F0502020204030204" pitchFamily="34" charset="0"/>
                <a:cs typeface="Calibri" panose="020F0502020204030204" pitchFamily="34" charset="0"/>
              </a:rPr>
              <a:t>Equitable access </a:t>
            </a:r>
            <a:r>
              <a:rPr lang="en-GB" sz="900" dirty="0">
                <a:latin typeface="Calibri" panose="020F0502020204030204" pitchFamily="34" charset="0"/>
                <a:cs typeface="Calibri" panose="020F0502020204030204" pitchFamily="34" charset="0"/>
              </a:rPr>
              <a:t>to and coverage with new and existing vaccines as part of the expanded broader MCHPP services</a:t>
            </a:r>
          </a:p>
          <a:p>
            <a:r>
              <a:rPr lang="en-GB" sz="900" i="1" dirty="0">
                <a:latin typeface="Calibri" panose="020F0502020204030204" pitchFamily="34" charset="0"/>
                <a:cs typeface="Calibri" panose="020F0502020204030204" pitchFamily="34" charset="0"/>
              </a:rPr>
              <a:t>(Linked to Gavi SG1 &amp; SG2)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0E90EA0A-CBAA-469F-9814-CB724A971336}"/>
              </a:ext>
            </a:extLst>
          </p:cNvPr>
          <p:cNvSpPr txBox="1"/>
          <p:nvPr/>
        </p:nvSpPr>
        <p:spPr>
          <a:xfrm>
            <a:off x="9170028" y="1485260"/>
            <a:ext cx="2051686" cy="92333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sz="900" dirty="0">
                <a:latin typeface="Calibri" panose="020F0502020204030204" pitchFamily="34" charset="0"/>
                <a:cs typeface="Calibri" panose="020F0502020204030204" pitchFamily="34" charset="0"/>
              </a:rPr>
              <a:t>Reduction in the % of zero dose children and missed communities</a:t>
            </a:r>
          </a:p>
          <a:p>
            <a:endParaRPr lang="en-US" sz="900" dirty="0"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90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rengthened Health Systems to Increase </a:t>
            </a:r>
            <a:r>
              <a:rPr lang="en-US" sz="900" b="1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quity</a:t>
            </a:r>
            <a:r>
              <a:rPr lang="en-US" sz="90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in Immunization</a:t>
            </a:r>
            <a:endParaRPr lang="en-GB" sz="9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GB" sz="900" i="1" dirty="0">
                <a:latin typeface="Calibri" panose="020F0502020204030204" pitchFamily="34" charset="0"/>
                <a:cs typeface="Calibri" panose="020F0502020204030204" pitchFamily="34" charset="0"/>
              </a:rPr>
              <a:t>(Linked to Gavi SG2)</a:t>
            </a:r>
          </a:p>
        </p:txBody>
      </p:sp>
      <p:sp>
        <p:nvSpPr>
          <p:cNvPr id="108" name="Right Bracket 107">
            <a:extLst>
              <a:ext uri="{FF2B5EF4-FFF2-40B4-BE49-F238E27FC236}">
                <a16:creationId xmlns:a16="http://schemas.microsoft.com/office/drawing/2014/main" id="{34F07754-F080-4DE2-BD41-68D2CA7D0B6B}"/>
              </a:ext>
            </a:extLst>
          </p:cNvPr>
          <p:cNvSpPr/>
          <p:nvPr/>
        </p:nvSpPr>
        <p:spPr>
          <a:xfrm>
            <a:off x="11326578" y="1911338"/>
            <a:ext cx="55712" cy="4504824"/>
          </a:xfrm>
          <a:prstGeom prst="rightBracket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5A5F0F81-ED13-4EF7-80DA-E5B250E59E13}"/>
              </a:ext>
            </a:extLst>
          </p:cNvPr>
          <p:cNvCxnSpPr>
            <a:cxnSpLocks/>
            <a:stCxn id="61" idx="3"/>
            <a:endCxn id="30" idx="1"/>
          </p:cNvCxnSpPr>
          <p:nvPr/>
        </p:nvCxnSpPr>
        <p:spPr>
          <a:xfrm flipV="1">
            <a:off x="2674361" y="1275091"/>
            <a:ext cx="456851" cy="541094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9C5BC434-70B8-4FF6-897C-8DD8AC004031}"/>
              </a:ext>
            </a:extLst>
          </p:cNvPr>
          <p:cNvCxnSpPr>
            <a:cxnSpLocks/>
            <a:stCxn id="61" idx="3"/>
            <a:endCxn id="193" idx="1"/>
          </p:cNvCxnSpPr>
          <p:nvPr/>
        </p:nvCxnSpPr>
        <p:spPr>
          <a:xfrm>
            <a:off x="2674361" y="1816185"/>
            <a:ext cx="456851" cy="530595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BCDF0F01-44E9-4F3A-B434-A01850611F7C}"/>
              </a:ext>
            </a:extLst>
          </p:cNvPr>
          <p:cNvCxnSpPr>
            <a:cxnSpLocks/>
            <a:stCxn id="75" idx="3"/>
            <a:endCxn id="101" idx="1"/>
          </p:cNvCxnSpPr>
          <p:nvPr/>
        </p:nvCxnSpPr>
        <p:spPr>
          <a:xfrm>
            <a:off x="2678187" y="3468846"/>
            <a:ext cx="456173" cy="938587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ECC7A3F3-8702-4AD0-A78D-FFE18104BDD8}"/>
              </a:ext>
            </a:extLst>
          </p:cNvPr>
          <p:cNvCxnSpPr>
            <a:cxnSpLocks/>
            <a:stCxn id="75" idx="3"/>
            <a:endCxn id="28" idx="1"/>
          </p:cNvCxnSpPr>
          <p:nvPr/>
        </p:nvCxnSpPr>
        <p:spPr>
          <a:xfrm flipV="1">
            <a:off x="2678187" y="2987026"/>
            <a:ext cx="456173" cy="481820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74B410A4-1770-4EAB-ABCA-C17333FDD4EB}"/>
              </a:ext>
            </a:extLst>
          </p:cNvPr>
          <p:cNvCxnSpPr>
            <a:cxnSpLocks/>
            <a:stCxn id="77" idx="3"/>
            <a:endCxn id="15" idx="1"/>
          </p:cNvCxnSpPr>
          <p:nvPr/>
        </p:nvCxnSpPr>
        <p:spPr>
          <a:xfrm>
            <a:off x="2642877" y="5291057"/>
            <a:ext cx="494616" cy="220307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E2E91C0A-B995-4BA9-BEF8-5BAA7FD35EDE}"/>
              </a:ext>
            </a:extLst>
          </p:cNvPr>
          <p:cNvCxnSpPr>
            <a:cxnSpLocks/>
            <a:stCxn id="77" idx="3"/>
            <a:endCxn id="100" idx="1"/>
          </p:cNvCxnSpPr>
          <p:nvPr/>
        </p:nvCxnSpPr>
        <p:spPr>
          <a:xfrm flipV="1">
            <a:off x="2642877" y="5137237"/>
            <a:ext cx="494069" cy="153820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67" name="Right Brace 66">
            <a:extLst>
              <a:ext uri="{FF2B5EF4-FFF2-40B4-BE49-F238E27FC236}">
                <a16:creationId xmlns:a16="http://schemas.microsoft.com/office/drawing/2014/main" id="{9918EB64-A908-4F2E-ABB6-B2D26B604A0A}"/>
              </a:ext>
            </a:extLst>
          </p:cNvPr>
          <p:cNvSpPr/>
          <p:nvPr/>
        </p:nvSpPr>
        <p:spPr>
          <a:xfrm>
            <a:off x="5792629" y="1288414"/>
            <a:ext cx="350844" cy="599948"/>
          </a:xfrm>
          <a:prstGeom prst="rightBrac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8" name="Right Brace 67">
            <a:extLst>
              <a:ext uri="{FF2B5EF4-FFF2-40B4-BE49-F238E27FC236}">
                <a16:creationId xmlns:a16="http://schemas.microsoft.com/office/drawing/2014/main" id="{F7BFB6C2-1E15-4649-A114-8FCE33F77849}"/>
              </a:ext>
            </a:extLst>
          </p:cNvPr>
          <p:cNvSpPr/>
          <p:nvPr/>
        </p:nvSpPr>
        <p:spPr>
          <a:xfrm>
            <a:off x="5825275" y="2820463"/>
            <a:ext cx="310276" cy="1002670"/>
          </a:xfrm>
          <a:prstGeom prst="rightBrace">
            <a:avLst>
              <a:gd name="adj1" fmla="val 8333"/>
              <a:gd name="adj2" fmla="val 48053"/>
            </a:avLst>
          </a:prstGeom>
          <a:ln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9" name="Right Brace 68">
            <a:extLst>
              <a:ext uri="{FF2B5EF4-FFF2-40B4-BE49-F238E27FC236}">
                <a16:creationId xmlns:a16="http://schemas.microsoft.com/office/drawing/2014/main" id="{75130609-1B95-4157-A3CE-05016AEF3DF9}"/>
              </a:ext>
            </a:extLst>
          </p:cNvPr>
          <p:cNvSpPr/>
          <p:nvPr/>
        </p:nvSpPr>
        <p:spPr>
          <a:xfrm>
            <a:off x="5906757" y="4952571"/>
            <a:ext cx="236716" cy="741162"/>
          </a:xfrm>
          <a:prstGeom prst="rightBrace">
            <a:avLst>
              <a:gd name="adj1" fmla="val 8333"/>
              <a:gd name="adj2" fmla="val 50359"/>
            </a:avLst>
          </a:prstGeom>
          <a:ln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0" name="Right Brace 69">
            <a:extLst>
              <a:ext uri="{FF2B5EF4-FFF2-40B4-BE49-F238E27FC236}">
                <a16:creationId xmlns:a16="http://schemas.microsoft.com/office/drawing/2014/main" id="{AB920EE1-2B02-4421-9268-0E3D9F63FB94}"/>
              </a:ext>
            </a:extLst>
          </p:cNvPr>
          <p:cNvSpPr/>
          <p:nvPr/>
        </p:nvSpPr>
        <p:spPr>
          <a:xfrm>
            <a:off x="5825274" y="3859703"/>
            <a:ext cx="324713" cy="587784"/>
          </a:xfrm>
          <a:prstGeom prst="rightBrace">
            <a:avLst>
              <a:gd name="adj1" fmla="val 8333"/>
              <a:gd name="adj2" fmla="val 42942"/>
            </a:avLst>
          </a:prstGeom>
          <a:ln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1" name="Right Brace 70">
            <a:extLst>
              <a:ext uri="{FF2B5EF4-FFF2-40B4-BE49-F238E27FC236}">
                <a16:creationId xmlns:a16="http://schemas.microsoft.com/office/drawing/2014/main" id="{B36E0435-A200-47CC-87C6-692D849C005D}"/>
              </a:ext>
            </a:extLst>
          </p:cNvPr>
          <p:cNvSpPr/>
          <p:nvPr/>
        </p:nvSpPr>
        <p:spPr>
          <a:xfrm>
            <a:off x="8836839" y="1401982"/>
            <a:ext cx="237676" cy="1076748"/>
          </a:xfrm>
          <a:prstGeom prst="rightBrace">
            <a:avLst>
              <a:gd name="adj1" fmla="val 8333"/>
              <a:gd name="adj2" fmla="val 48229"/>
            </a:avLst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3" name="Right Brace 72">
            <a:extLst>
              <a:ext uri="{FF2B5EF4-FFF2-40B4-BE49-F238E27FC236}">
                <a16:creationId xmlns:a16="http://schemas.microsoft.com/office/drawing/2014/main" id="{8CA107F1-2F1A-455E-9C6B-F0CE62168090}"/>
              </a:ext>
            </a:extLst>
          </p:cNvPr>
          <p:cNvSpPr/>
          <p:nvPr/>
        </p:nvSpPr>
        <p:spPr>
          <a:xfrm>
            <a:off x="8841094" y="3302535"/>
            <a:ext cx="237676" cy="874953"/>
          </a:xfrm>
          <a:prstGeom prst="rightBrace">
            <a:avLst>
              <a:gd name="adj1" fmla="val 8333"/>
              <a:gd name="adj2" fmla="val 50062"/>
            </a:avLst>
          </a:prstGeom>
          <a:ln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3" name="Right Brace 62">
            <a:extLst>
              <a:ext uri="{FF2B5EF4-FFF2-40B4-BE49-F238E27FC236}">
                <a16:creationId xmlns:a16="http://schemas.microsoft.com/office/drawing/2014/main" id="{587BCCB9-AA83-4BB5-9AEC-20C6A05AC437}"/>
              </a:ext>
            </a:extLst>
          </p:cNvPr>
          <p:cNvSpPr/>
          <p:nvPr/>
        </p:nvSpPr>
        <p:spPr>
          <a:xfrm>
            <a:off x="5803424" y="1948410"/>
            <a:ext cx="340049" cy="632953"/>
          </a:xfrm>
          <a:prstGeom prst="rightBrac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A7632463-7DA0-40D2-B293-8DA5312E72E6}"/>
              </a:ext>
            </a:extLst>
          </p:cNvPr>
          <p:cNvSpPr txBox="1"/>
          <p:nvPr/>
        </p:nvSpPr>
        <p:spPr>
          <a:xfrm>
            <a:off x="6298628" y="2774897"/>
            <a:ext cx="1472596" cy="261610"/>
          </a:xfrm>
          <a:prstGeom prst="rect">
            <a:avLst/>
          </a:prstGeom>
          <a:solidFill>
            <a:srgbClr val="0070C0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GB" sz="11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nage &amp; Monitor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1E2DD336-1112-4E5A-9DB1-E95D376C343D}"/>
              </a:ext>
            </a:extLst>
          </p:cNvPr>
          <p:cNvSpPr txBox="1"/>
          <p:nvPr/>
        </p:nvSpPr>
        <p:spPr>
          <a:xfrm>
            <a:off x="6295703" y="1057842"/>
            <a:ext cx="1262565" cy="26161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GB" sz="1100" b="1">
                <a:latin typeface="Calibri" panose="020F0502020204030204" pitchFamily="34" charset="0"/>
                <a:cs typeface="Calibri" panose="020F0502020204030204" pitchFamily="34" charset="0"/>
              </a:rPr>
              <a:t>Extend &amp; Reach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AECC97F4-9271-44BB-99A2-97D6D79539EE}"/>
              </a:ext>
            </a:extLst>
          </p:cNvPr>
          <p:cNvSpPr txBox="1"/>
          <p:nvPr/>
        </p:nvSpPr>
        <p:spPr>
          <a:xfrm>
            <a:off x="6279873" y="4653335"/>
            <a:ext cx="1443862" cy="261610"/>
          </a:xfrm>
          <a:prstGeom prst="rect">
            <a:avLst/>
          </a:prstGeom>
          <a:solidFill>
            <a:schemeClr val="accent5"/>
          </a:solidFill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GB" sz="11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roduce and scale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A8396F8C-6602-40D6-8976-71BBF9B201D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620" y="4596729"/>
            <a:ext cx="1213124" cy="36812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8F76CDCE-324E-490F-BB1A-31B4682AA29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0222" y="2634288"/>
            <a:ext cx="747907" cy="378252"/>
          </a:xfrm>
          <a:prstGeom prst="rect">
            <a:avLst/>
          </a:prstGeom>
        </p:spPr>
      </p:pic>
      <p:sp>
        <p:nvSpPr>
          <p:cNvPr id="76" name="TextBox 75">
            <a:extLst>
              <a:ext uri="{FF2B5EF4-FFF2-40B4-BE49-F238E27FC236}">
                <a16:creationId xmlns:a16="http://schemas.microsoft.com/office/drawing/2014/main" id="{AB051AEF-A625-8CA2-6C65-62DEC9C643C7}"/>
              </a:ext>
            </a:extLst>
          </p:cNvPr>
          <p:cNvSpPr txBox="1"/>
          <p:nvPr/>
        </p:nvSpPr>
        <p:spPr>
          <a:xfrm>
            <a:off x="6279873" y="5326698"/>
            <a:ext cx="2510917" cy="369332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R="1000"/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crease in MCV2 coverage by 25%; Increase in DPT by 7%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F3C362E0-F352-FC88-726B-F1FB6BDAB2EF}"/>
              </a:ext>
            </a:extLst>
          </p:cNvPr>
          <p:cNvSpPr txBox="1"/>
          <p:nvPr/>
        </p:nvSpPr>
        <p:spPr>
          <a:xfrm>
            <a:off x="6269543" y="6244095"/>
            <a:ext cx="2510917" cy="369332"/>
          </a:xfrm>
          <a:prstGeom prst="rect">
            <a:avLst/>
          </a:prstGeom>
          <a:ln>
            <a:solidFill>
              <a:schemeClr val="accent3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R="1000"/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00% government financing available for vaccines at start of fiscal year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6304AFDE-38EE-DF6D-24EF-550C1AEC217B}"/>
              </a:ext>
            </a:extLst>
          </p:cNvPr>
          <p:cNvSpPr txBox="1"/>
          <p:nvPr/>
        </p:nvSpPr>
        <p:spPr>
          <a:xfrm>
            <a:off x="3126615" y="6244095"/>
            <a:ext cx="2704410" cy="369332"/>
          </a:xfrm>
          <a:prstGeom prst="rect">
            <a:avLst/>
          </a:prstGeom>
          <a:ln>
            <a:solidFill>
              <a:schemeClr val="accent3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900" dirty="0">
                <a:latin typeface="Calibri" panose="020F0502020204030204" pitchFamily="34" charset="0"/>
                <a:cs typeface="Calibri" panose="020F0502020204030204" pitchFamily="34" charset="0"/>
              </a:rPr>
              <a:t>Work with Ministry of Finance to clarify vaccine financing requirement and payment processes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40DB9D2-DF0D-563E-8E06-7E8749090998}"/>
              </a:ext>
            </a:extLst>
          </p:cNvPr>
          <p:cNvSpPr txBox="1"/>
          <p:nvPr/>
        </p:nvSpPr>
        <p:spPr>
          <a:xfrm>
            <a:off x="111233" y="6112180"/>
            <a:ext cx="2521313" cy="646331"/>
          </a:xfrm>
          <a:prstGeom prst="rect">
            <a:avLst/>
          </a:prstGeom>
          <a:ln>
            <a:solidFill>
              <a:schemeClr val="accent3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GB" sz="9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-financing for vaccines is not made available in a timely manner and as a result vaccine supply is interrupted, leading to </a:t>
            </a:r>
            <a:r>
              <a:rPr lang="en-GB" sz="9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tock-outs</a:t>
            </a:r>
            <a:endParaRPr lang="en-GB" sz="9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420F9F04-5E51-AA10-0918-FC9B7012186C}"/>
              </a:ext>
            </a:extLst>
          </p:cNvPr>
          <p:cNvSpPr txBox="1"/>
          <p:nvPr/>
        </p:nvSpPr>
        <p:spPr>
          <a:xfrm>
            <a:off x="9125436" y="6038753"/>
            <a:ext cx="2096277" cy="784830"/>
          </a:xfrm>
          <a:prstGeom prst="rect">
            <a:avLst/>
          </a:prstGeom>
          <a:ln>
            <a:solidFill>
              <a:schemeClr val="accent3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sz="900" dirty="0">
                <a:latin typeface="Calibri" panose="020F0502020204030204" pitchFamily="34" charset="0"/>
                <a:cs typeface="Calibri" panose="020F0502020204030204" pitchFamily="34" charset="0"/>
              </a:rPr>
              <a:t>Continuous flow of vaccine stock and overall improved vaccine </a:t>
            </a:r>
            <a:r>
              <a:rPr lang="en-GB" sz="900">
                <a:latin typeface="Calibri" panose="020F0502020204030204" pitchFamily="34" charset="0"/>
                <a:cs typeface="Calibri" panose="020F0502020204030204" pitchFamily="34" charset="0"/>
              </a:rPr>
              <a:t>management thanks </a:t>
            </a:r>
            <a:r>
              <a:rPr lang="en-GB" sz="900" dirty="0">
                <a:latin typeface="Calibri" panose="020F0502020204030204" pitchFamily="34" charset="0"/>
                <a:cs typeface="Calibri" panose="020F0502020204030204" pitchFamily="34" charset="0"/>
              </a:rPr>
              <a:t>to uninterrupted supply leading to </a:t>
            </a:r>
            <a:r>
              <a:rPr lang="en-GB" sz="900" b="1" dirty="0">
                <a:latin typeface="Calibri" panose="020F0502020204030204" pitchFamily="34" charset="0"/>
                <a:cs typeface="Calibri" panose="020F0502020204030204" pitchFamily="34" charset="0"/>
              </a:rPr>
              <a:t>sustainable high coverage </a:t>
            </a:r>
            <a:r>
              <a:rPr lang="en-GB" sz="900" dirty="0">
                <a:latin typeface="Calibri" panose="020F0502020204030204" pitchFamily="34" charset="0"/>
                <a:cs typeface="Calibri" panose="020F0502020204030204" pitchFamily="34" charset="0"/>
              </a:rPr>
              <a:t>over time. </a:t>
            </a:r>
            <a:r>
              <a:rPr lang="en-GB" sz="900" i="1" dirty="0">
                <a:latin typeface="Calibri" panose="020F0502020204030204" pitchFamily="34" charset="0"/>
                <a:cs typeface="Calibri" panose="020F0502020204030204" pitchFamily="34" charset="0"/>
              </a:rPr>
              <a:t>(Linked to Gavi SG3)</a:t>
            </a:r>
          </a:p>
        </p:txBody>
      </p:sp>
      <p:sp>
        <p:nvSpPr>
          <p:cNvPr id="64" name="Right Brace 63">
            <a:extLst>
              <a:ext uri="{FF2B5EF4-FFF2-40B4-BE49-F238E27FC236}">
                <a16:creationId xmlns:a16="http://schemas.microsoft.com/office/drawing/2014/main" id="{4DC598AD-3402-FFF4-DD01-FC28B1B2993A}"/>
              </a:ext>
            </a:extLst>
          </p:cNvPr>
          <p:cNvSpPr/>
          <p:nvPr/>
        </p:nvSpPr>
        <p:spPr>
          <a:xfrm>
            <a:off x="8835537" y="4951322"/>
            <a:ext cx="236716" cy="741162"/>
          </a:xfrm>
          <a:prstGeom prst="rightBrace">
            <a:avLst>
              <a:gd name="adj1" fmla="val 8333"/>
              <a:gd name="adj2" fmla="val 50359"/>
            </a:avLst>
          </a:prstGeom>
          <a:ln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46AA6044-ACEC-418F-4A19-0106E4DCC66F}"/>
              </a:ext>
            </a:extLst>
          </p:cNvPr>
          <p:cNvSpPr txBox="1"/>
          <p:nvPr/>
        </p:nvSpPr>
        <p:spPr>
          <a:xfrm>
            <a:off x="6279873" y="5846173"/>
            <a:ext cx="1443862" cy="261610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GB" sz="11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mit and sustain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35E55DE1-B063-DDDD-73E1-F3190474B0D7}"/>
              </a:ext>
            </a:extLst>
          </p:cNvPr>
          <p:cNvCxnSpPr>
            <a:cxnSpLocks/>
            <a:stCxn id="59" idx="3"/>
            <a:endCxn id="58" idx="1"/>
          </p:cNvCxnSpPr>
          <p:nvPr/>
        </p:nvCxnSpPr>
        <p:spPr>
          <a:xfrm flipV="1">
            <a:off x="2632546" y="6428761"/>
            <a:ext cx="494069" cy="6585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D4C956D5-66AD-5BED-4D3C-40A6D3BC27D4}"/>
              </a:ext>
            </a:extLst>
          </p:cNvPr>
          <p:cNvCxnSpPr>
            <a:cxnSpLocks/>
            <a:stCxn id="58" idx="3"/>
            <a:endCxn id="57" idx="1"/>
          </p:cNvCxnSpPr>
          <p:nvPr/>
        </p:nvCxnSpPr>
        <p:spPr>
          <a:xfrm>
            <a:off x="5831025" y="6428761"/>
            <a:ext cx="438518" cy="0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D17877C2-0F01-5645-6129-0C316E4FC8B6}"/>
              </a:ext>
            </a:extLst>
          </p:cNvPr>
          <p:cNvCxnSpPr>
            <a:cxnSpLocks/>
            <a:stCxn id="57" idx="3"/>
            <a:endCxn id="60" idx="1"/>
          </p:cNvCxnSpPr>
          <p:nvPr/>
        </p:nvCxnSpPr>
        <p:spPr>
          <a:xfrm>
            <a:off x="8780460" y="6428761"/>
            <a:ext cx="344976" cy="2407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D072CA02-5608-EDB9-F6C7-E5DA10FF66D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8762" y="5793871"/>
            <a:ext cx="2232924" cy="313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68443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" grpId="0" animBg="1"/>
      <p:bldP spid="103" grpId="0" animBg="1"/>
      <p:bldP spid="15" grpId="0" animBg="1"/>
      <p:bldP spid="17" grpId="0" animBg="1"/>
      <p:bldP spid="20" grpId="0" animBg="1"/>
      <p:bldP spid="21" grpId="0" animBg="1"/>
      <p:bldP spid="22" grpId="0" animBg="1"/>
      <p:bldP spid="28" grpId="0" animBg="1"/>
      <p:bldP spid="30" grpId="0" animBg="1"/>
      <p:bldP spid="100" grpId="0" animBg="1"/>
      <p:bldP spid="111" grpId="0" animBg="1"/>
      <p:bldP spid="193" grpId="0" animBg="1"/>
      <p:bldP spid="178" grpId="0" animBg="1"/>
      <p:bldP spid="61" grpId="0" animBg="1"/>
      <p:bldP spid="75" grpId="0" animBg="1"/>
      <p:bldP spid="77" grpId="0" animBg="1"/>
      <p:bldP spid="93" grpId="0" animBg="1"/>
      <p:bldP spid="94" grpId="0" animBg="1"/>
      <p:bldP spid="95" grpId="0" animBg="1"/>
      <p:bldP spid="101" grpId="0" animBg="1"/>
      <p:bldP spid="129" grpId="0" animBg="1"/>
      <p:bldP spid="133" grpId="0" animBg="1"/>
      <p:bldP spid="79" grpId="0" animBg="1"/>
      <p:bldP spid="80" grpId="0" animBg="1"/>
      <p:bldP spid="81" grpId="0" animBg="1"/>
      <p:bldP spid="76" grpId="0" animBg="1"/>
      <p:bldP spid="57" grpId="0" animBg="1"/>
      <p:bldP spid="58" grpId="0" animBg="1"/>
      <p:bldP spid="59" grpId="0" animBg="1"/>
      <p:bldP spid="60" grpId="0" animBg="1"/>
      <p:bldP spid="66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42GT13TmKrB1epzZyi4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9ICk_PQ46xZ3Gvn0hFZ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5_Gavi_CF_GAE403">
  <a:themeElements>
    <a:clrScheme name="Current">
      <a:dk1>
        <a:srgbClr val="000000"/>
      </a:dk1>
      <a:lt1>
        <a:srgbClr val="FFFFFF"/>
      </a:lt1>
      <a:dk2>
        <a:srgbClr val="95D600"/>
      </a:dk2>
      <a:lt2>
        <a:srgbClr val="878787"/>
      </a:lt2>
      <a:accent1>
        <a:srgbClr val="005CB9"/>
      </a:accent1>
      <a:accent2>
        <a:srgbClr val="00A1DF"/>
      </a:accent2>
      <a:accent3>
        <a:srgbClr val="95D600"/>
      </a:accent3>
      <a:accent4>
        <a:srgbClr val="A51890"/>
      </a:accent4>
      <a:accent5>
        <a:srgbClr val="CE0F69"/>
      </a:accent5>
      <a:accent6>
        <a:srgbClr val="808080"/>
      </a:accent6>
      <a:hlink>
        <a:srgbClr val="95D600"/>
      </a:hlink>
      <a:folHlink>
        <a:srgbClr val="A5189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95D600"/>
        </a:dk2>
        <a:lt2>
          <a:srgbClr val="878787"/>
        </a:lt2>
        <a:accent1>
          <a:srgbClr val="005CB9"/>
        </a:accent1>
        <a:accent2>
          <a:srgbClr val="00A1DF"/>
        </a:accent2>
        <a:accent3>
          <a:srgbClr val="95D600"/>
        </a:accent3>
        <a:accent4>
          <a:srgbClr val="A51890"/>
        </a:accent4>
        <a:accent5>
          <a:srgbClr val="CE0F69"/>
        </a:accent5>
        <a:accent6>
          <a:srgbClr val="808080"/>
        </a:accent6>
        <a:hlink>
          <a:srgbClr val="95D600"/>
        </a:hlink>
        <a:folHlink>
          <a:srgbClr val="A518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SharedContentType xmlns="Microsoft.SharePoint.Taxonomy.ContentTypeSync" SourceId="93cb0222-e980-4273-ad97-85dba3159c09" ContentTypeId="0x0101009954897F3EE3CC4ABB9FB9EDAC9CDEBC" PreviousValue="false"/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Gavi Document" ma:contentTypeID="0x0101009954897F3EE3CC4ABB9FB9EDAC9CDEBC0061E92A44B5DD2545AEF000129C25E859" ma:contentTypeVersion="209" ma:contentTypeDescription="Gavi Document content type " ma:contentTypeScope="" ma:versionID="3c82f0c0c431ecddf7a9e863def4d301">
  <xsd:schema xmlns:xsd="http://www.w3.org/2001/XMLSchema" xmlns:xs="http://www.w3.org/2001/XMLSchema" xmlns:p="http://schemas.microsoft.com/office/2006/metadata/properties" xmlns:ns2="d0706217-df7c-4bf4-936d-b09aa3b837af" xmlns:ns3="55894003-98dc-4f3e-8669-85b90bdbcc8c" xmlns:ns4="5c2490db-6e42-4989-a0fb-d6ff54a6a7de" targetNamespace="http://schemas.microsoft.com/office/2006/metadata/properties" ma:root="true" ma:fieldsID="4646fe5a8c9fc0ff7027340f19b8308f" ns2:_="" ns3:_="" ns4:_="">
    <xsd:import namespace="d0706217-df7c-4bf4-936d-b09aa3b837af"/>
    <xsd:import namespace="55894003-98dc-4f3e-8669-85b90bdbcc8c"/>
    <xsd:import namespace="5c2490db-6e42-4989-a0fb-d6ff54a6a7de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3:_dlc_DocId" minOccurs="0"/>
                <xsd:element ref="ns3:_dlc_DocIdUrl" minOccurs="0"/>
                <xsd:element ref="ns3:_dlc_DocIdPersistId" minOccurs="0"/>
                <xsd:element ref="ns2:TaxCatchAllLabel" minOccurs="0"/>
                <xsd:element ref="ns4:MediaServiceAutoKeyPoints" minOccurs="0"/>
                <xsd:element ref="ns4:MediaServiceKeyPoints" minOccurs="0"/>
                <xsd:element ref="ns4:MediaLengthInSeconds" minOccurs="0"/>
                <xsd:element ref="ns4:lcf76f155ced4ddcb4097134ff3c332f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0706217-df7c-4bf4-936d-b09aa3b837af" elementFormDefault="qualified">
    <xsd:import namespace="http://schemas.microsoft.com/office/2006/documentManagement/types"/>
    <xsd:import namespace="http://schemas.microsoft.com/office/infopath/2007/PartnerControls"/>
    <xsd:element name="TaxCatchAll" ma:index="5" nillable="true" ma:displayName="Taxonomy Catch All Column" ma:description="" ma:hidden="true" ma:list="{c405dbff-886d-494b-bfcb-83b334e9f606}" ma:internalName="TaxCatchAll" ma:showField="CatchAllData" ma:web="55894003-98dc-4f3e-8669-85b90bdbcc8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2" nillable="true" ma:displayName="Taxonomy Catch All Column1" ma:description="" ma:hidden="true" ma:list="{c405dbff-886d-494b-bfcb-83b334e9f606}" ma:internalName="TaxCatchAllLabel" ma:readOnly="true" ma:showField="CatchAllDataLabel" ma:web="55894003-98dc-4f3e-8669-85b90bdbcc8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894003-98dc-4f3e-8669-85b90bdbcc8c" elementFormDefault="qualified">
    <xsd:import namespace="http://schemas.microsoft.com/office/2006/documentManagement/types"/>
    <xsd:import namespace="http://schemas.microsoft.com/office/infopath/2007/PartnerControls"/>
    <xsd:element name="_dlc_DocId" ma:index="6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7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8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c2490db-6e42-4989-a0fb-d6ff54a6a7de" elementFormDefault="qualified">
    <xsd:import namespace="http://schemas.microsoft.com/office/2006/documentManagement/types"/>
    <xsd:import namespace="http://schemas.microsoft.com/office/infopath/2007/PartnerControls"/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5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93cb0222-e980-4273-ad97-85dba3159c0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0706217-df7c-4bf4-936d-b09aa3b837af" xsi:nil="true"/>
    <_dlc_DocId xmlns="55894003-98dc-4f3e-8669-85b90bdbcc8c">GAVI-438364776-972656</_dlc_DocId>
    <_dlc_DocIdUrl xmlns="55894003-98dc-4f3e-8669-85b90bdbcc8c">
      <Url>https://gavinet.sharepoint.com/teams/PAP/srp/_layouts/15/DocIdRedir.aspx?ID=GAVI-438364776-972656</Url>
      <Description>GAVI-438364776-972656</Description>
    </_dlc_DocIdUrl>
    <lcf76f155ced4ddcb4097134ff3c332f xmlns="5c2490db-6e42-4989-a0fb-d6ff54a6a7de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F8253A77-5CF6-49C5-B0D4-65ABE987EB96}">
  <ds:schemaRefs>
    <ds:schemaRef ds:uri="Microsoft.SharePoint.Taxonomy.ContentTypeSync"/>
  </ds:schemaRefs>
</ds:datastoreItem>
</file>

<file path=customXml/itemProps2.xml><?xml version="1.0" encoding="utf-8"?>
<ds:datastoreItem xmlns:ds="http://schemas.openxmlformats.org/officeDocument/2006/customXml" ds:itemID="{BE01B5F2-4361-41B1-9EB1-6A77B1FA9878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7A73B66A-0417-4059-89A5-860A1F686150}">
  <ds:schemaRefs>
    <ds:schemaRef ds:uri="55894003-98dc-4f3e-8669-85b90bdbcc8c"/>
    <ds:schemaRef ds:uri="5c2490db-6e42-4989-a0fb-d6ff54a6a7de"/>
    <ds:schemaRef ds:uri="d0706217-df7c-4bf4-936d-b09aa3b837a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3B9BCA34-773A-40EE-BA12-35C7128C61C7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C2DC1B38-36B6-4290-9C66-9E79EB0EE5A1}">
  <ds:schemaRefs>
    <ds:schemaRef ds:uri="http://schemas.microsoft.com/office/infopath/2007/PartnerControls"/>
    <ds:schemaRef ds:uri="55894003-98dc-4f3e-8669-85b90bdbcc8c"/>
    <ds:schemaRef ds:uri="5c2490db-6e42-4989-a0fb-d6ff54a6a7de"/>
    <ds:schemaRef ds:uri="http://purl.org/dc/elements/1.1/"/>
    <ds:schemaRef ds:uri="http://schemas.microsoft.com/office/2006/documentManagement/types"/>
    <ds:schemaRef ds:uri="d0706217-df7c-4bf4-936d-b09aa3b837af"/>
    <ds:schemaRef ds:uri="http://schemas.openxmlformats.org/package/2006/metadata/core-properties"/>
    <ds:schemaRef ds:uri="http://purl.org/dc/dcmitype/"/>
    <ds:schemaRef ds:uri="http://schemas.microsoft.com/office/2006/metadata/properties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19</Words>
  <Application>Microsoft Office PowerPoint</Application>
  <PresentationFormat>Widescreen</PresentationFormat>
  <Paragraphs>5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Symbol</vt:lpstr>
      <vt:lpstr>Wingdings</vt:lpstr>
      <vt:lpstr>5_Gavi_CF_GAE403</vt:lpstr>
      <vt:lpstr>think-cell Slide</vt:lpstr>
      <vt:lpstr>THEORY OF  CHANGE: Tatooin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yrgyzstan – Example of Theory of Change</dc:title>
  <dc:creator>Alexander Kvitashvili</dc:creator>
  <cp:lastModifiedBy>Stephanie Phipps</cp:lastModifiedBy>
  <cp:revision>1</cp:revision>
  <dcterms:created xsi:type="dcterms:W3CDTF">2020-06-14T07:32:16Z</dcterms:created>
  <dcterms:modified xsi:type="dcterms:W3CDTF">2022-08-16T08:42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a957285-7815-485a-9751-5b273b784ad5_Enabled">
    <vt:lpwstr>true</vt:lpwstr>
  </property>
  <property fmtid="{D5CDD505-2E9C-101B-9397-08002B2CF9AE}" pid="3" name="MSIP_Label_0a957285-7815-485a-9751-5b273b784ad5_SetDate">
    <vt:lpwstr>2020-10-13T10:00:51Z</vt:lpwstr>
  </property>
  <property fmtid="{D5CDD505-2E9C-101B-9397-08002B2CF9AE}" pid="4" name="MSIP_Label_0a957285-7815-485a-9751-5b273b784ad5_Method">
    <vt:lpwstr>Privileged</vt:lpwstr>
  </property>
  <property fmtid="{D5CDD505-2E9C-101B-9397-08002B2CF9AE}" pid="5" name="MSIP_Label_0a957285-7815-485a-9751-5b273b784ad5_Name">
    <vt:lpwstr>0a957285-7815-485a-9751-5b273b784ad5</vt:lpwstr>
  </property>
  <property fmtid="{D5CDD505-2E9C-101B-9397-08002B2CF9AE}" pid="6" name="MSIP_Label_0a957285-7815-485a-9751-5b273b784ad5_SiteId">
    <vt:lpwstr>1de6d9f3-0daf-4df6-b9d6-5959f16f6118</vt:lpwstr>
  </property>
  <property fmtid="{D5CDD505-2E9C-101B-9397-08002B2CF9AE}" pid="7" name="MSIP_Label_0a957285-7815-485a-9751-5b273b784ad5_ActionId">
    <vt:lpwstr>2af1502d-17bf-47d8-9e16-0000bc14c289</vt:lpwstr>
  </property>
  <property fmtid="{D5CDD505-2E9C-101B-9397-08002B2CF9AE}" pid="8" name="MSIP_Label_0a957285-7815-485a-9751-5b273b784ad5_ContentBits">
    <vt:lpwstr>0</vt:lpwstr>
  </property>
  <property fmtid="{D5CDD505-2E9C-101B-9397-08002B2CF9AE}" pid="9" name="ContentTypeId">
    <vt:lpwstr>0x0101009954897F3EE3CC4ABB9FB9EDAC9CDEBC0061E92A44B5DD2545AEF000129C25E859</vt:lpwstr>
  </property>
  <property fmtid="{D5CDD505-2E9C-101B-9397-08002B2CF9AE}" pid="10" name="_dlc_DocIdItemGuid">
    <vt:lpwstr>18e44893-8d10-4ea3-9644-50c4920103e7</vt:lpwstr>
  </property>
  <property fmtid="{D5CDD505-2E9C-101B-9397-08002B2CF9AE}" pid="11" name="MediaServiceImageTags">
    <vt:lpwstr/>
  </property>
  <property fmtid="{D5CDD505-2E9C-101B-9397-08002B2CF9AE}" pid="12" name="kfa83adfad8641678ddaedda80d7e126">
    <vt:lpwstr/>
  </property>
  <property fmtid="{D5CDD505-2E9C-101B-9397-08002B2CF9AE}" pid="13" name="Test">
    <vt:lpwstr/>
  </property>
</Properties>
</file>